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43"/>
  </p:notesMasterIdLst>
  <p:sldIdLst>
    <p:sldId id="269" r:id="rId2"/>
    <p:sldId id="270" r:id="rId3"/>
    <p:sldId id="308" r:id="rId4"/>
    <p:sldId id="271" r:id="rId5"/>
    <p:sldId id="282" r:id="rId6"/>
    <p:sldId id="272" r:id="rId7"/>
    <p:sldId id="273" r:id="rId8"/>
    <p:sldId id="309" r:id="rId9"/>
    <p:sldId id="274" r:id="rId10"/>
    <p:sldId id="275" r:id="rId11"/>
    <p:sldId id="276" r:id="rId12"/>
    <p:sldId id="277" r:id="rId13"/>
    <p:sldId id="278" r:id="rId14"/>
    <p:sldId id="279" r:id="rId15"/>
    <p:sldId id="280" r:id="rId16"/>
    <p:sldId id="281" r:id="rId17"/>
    <p:sldId id="283" r:id="rId18"/>
    <p:sldId id="284" r:id="rId19"/>
    <p:sldId id="285" r:id="rId20"/>
    <p:sldId id="286" r:id="rId21"/>
    <p:sldId id="287" r:id="rId22"/>
    <p:sldId id="288" r:id="rId23"/>
    <p:sldId id="289" r:id="rId24"/>
    <p:sldId id="290" r:id="rId25"/>
    <p:sldId id="291" r:id="rId26"/>
    <p:sldId id="292" r:id="rId27"/>
    <p:sldId id="293" r:id="rId28"/>
    <p:sldId id="294" r:id="rId29"/>
    <p:sldId id="295" r:id="rId30"/>
    <p:sldId id="296" r:id="rId31"/>
    <p:sldId id="297" r:id="rId32"/>
    <p:sldId id="298" r:id="rId33"/>
    <p:sldId id="299" r:id="rId34"/>
    <p:sldId id="300" r:id="rId35"/>
    <p:sldId id="301" r:id="rId36"/>
    <p:sldId id="302" r:id="rId37"/>
    <p:sldId id="303" r:id="rId38"/>
    <p:sldId id="304" r:id="rId39"/>
    <p:sldId id="305" r:id="rId40"/>
    <p:sldId id="306" r:id="rId41"/>
    <p:sldId id="307"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2B927C2-DB34-4FB6-BAC1-4E27574A4887}">
          <p14:sldIdLst/>
        </p14:section>
        <p14:section name="Untitled Section" id="{6EDD3102-58A1-4760-84F9-59A1AA77F204}">
          <p14:sldIdLst>
            <p14:sldId id="269"/>
            <p14:sldId id="270"/>
            <p14:sldId id="308"/>
            <p14:sldId id="271"/>
            <p14:sldId id="282"/>
            <p14:sldId id="272"/>
            <p14:sldId id="273"/>
            <p14:sldId id="309"/>
            <p14:sldId id="274"/>
            <p14:sldId id="275"/>
            <p14:sldId id="276"/>
            <p14:sldId id="277"/>
            <p14:sldId id="278"/>
            <p14:sldId id="279"/>
            <p14:sldId id="280"/>
            <p14:sldId id="281"/>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1"/>
            <p14:sldId id="302"/>
            <p14:sldId id="303"/>
            <p14:sldId id="304"/>
            <p14:sldId id="305"/>
            <p14:sldId id="306"/>
            <p14:sldId id="30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153" autoAdjust="0"/>
  </p:normalViewPr>
  <p:slideViewPr>
    <p:cSldViewPr snapToGrid="0">
      <p:cViewPr varScale="1">
        <p:scale>
          <a:sx n="88" d="100"/>
          <a:sy n="88" d="100"/>
        </p:scale>
        <p:origin x="494"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47D15E-48F7-47DB-8B95-57C78892A92D}" type="datetimeFigureOut">
              <a:rPr lang="en-US" smtClean="0"/>
              <a:t>2/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99050F-40E9-4187-94F3-BA66FDA02E4B}" type="slidenum">
              <a:rPr lang="en-US" smtClean="0"/>
              <a:t>‹#›</a:t>
            </a:fld>
            <a:endParaRPr lang="en-US"/>
          </a:p>
        </p:txBody>
      </p:sp>
    </p:spTree>
    <p:extLst>
      <p:ext uri="{BB962C8B-B14F-4D97-AF65-F5344CB8AC3E}">
        <p14:creationId xmlns:p14="http://schemas.microsoft.com/office/powerpoint/2010/main" val="2173299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948FB-2BAF-4B4F-997F-5F4B6B16BCB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FCC4F65-DCDF-409D-8A9B-93C1518B3E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2F9A539-69B4-409E-AD97-F1D55649C432}"/>
              </a:ext>
            </a:extLst>
          </p:cNvPr>
          <p:cNvSpPr>
            <a:spLocks noGrp="1"/>
          </p:cNvSpPr>
          <p:nvPr>
            <p:ph type="dt" sz="half" idx="10"/>
          </p:nvPr>
        </p:nvSpPr>
        <p:spPr/>
        <p:txBody>
          <a:bodyPr/>
          <a:lstStyle/>
          <a:p>
            <a:fld id="{4EB64A66-D302-419B-8627-2EEFA32D157A}" type="datetimeFigureOut">
              <a:rPr lang="en-US" smtClean="0"/>
              <a:t>2/18/2023</a:t>
            </a:fld>
            <a:endParaRPr lang="en-US"/>
          </a:p>
        </p:txBody>
      </p:sp>
      <p:sp>
        <p:nvSpPr>
          <p:cNvPr id="5" name="Footer Placeholder 4">
            <a:extLst>
              <a:ext uri="{FF2B5EF4-FFF2-40B4-BE49-F238E27FC236}">
                <a16:creationId xmlns:a16="http://schemas.microsoft.com/office/drawing/2014/main" id="{4D51AAF9-D094-4311-AB73-B35207CD6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617014-E6BF-4CA3-812D-A3D4B9807EC3}"/>
              </a:ext>
            </a:extLst>
          </p:cNvPr>
          <p:cNvSpPr>
            <a:spLocks noGrp="1"/>
          </p:cNvSpPr>
          <p:nvPr>
            <p:ph type="sldNum" sz="quarter" idx="12"/>
          </p:nvPr>
        </p:nvSpPr>
        <p:spPr/>
        <p:txBody>
          <a:bodyPr/>
          <a:lstStyle/>
          <a:p>
            <a:fld id="{FDCA1564-7A75-4133-B187-E9EBBC6305BE}" type="slidenum">
              <a:rPr lang="en-US" smtClean="0"/>
              <a:t>‹#›</a:t>
            </a:fld>
            <a:endParaRPr lang="en-US"/>
          </a:p>
        </p:txBody>
      </p:sp>
    </p:spTree>
    <p:extLst>
      <p:ext uri="{BB962C8B-B14F-4D97-AF65-F5344CB8AC3E}">
        <p14:creationId xmlns:p14="http://schemas.microsoft.com/office/powerpoint/2010/main" val="3631157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165EC-1A32-447F-8F5D-FD860149D5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2CB387-06CF-4FD7-9EF1-A8450E4160D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3DD3BC-0B3B-49CA-8A85-A245B40508A5}"/>
              </a:ext>
            </a:extLst>
          </p:cNvPr>
          <p:cNvSpPr>
            <a:spLocks noGrp="1"/>
          </p:cNvSpPr>
          <p:nvPr>
            <p:ph type="dt" sz="half" idx="10"/>
          </p:nvPr>
        </p:nvSpPr>
        <p:spPr/>
        <p:txBody>
          <a:bodyPr/>
          <a:lstStyle/>
          <a:p>
            <a:fld id="{4EB64A66-D302-419B-8627-2EEFA32D157A}" type="datetimeFigureOut">
              <a:rPr lang="en-US" smtClean="0"/>
              <a:t>2/18/2023</a:t>
            </a:fld>
            <a:endParaRPr lang="en-US"/>
          </a:p>
        </p:txBody>
      </p:sp>
      <p:sp>
        <p:nvSpPr>
          <p:cNvPr id="5" name="Footer Placeholder 4">
            <a:extLst>
              <a:ext uri="{FF2B5EF4-FFF2-40B4-BE49-F238E27FC236}">
                <a16:creationId xmlns:a16="http://schemas.microsoft.com/office/drawing/2014/main" id="{6BEF7636-E4F3-4021-A318-771F32DE28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F5415B-18FB-44FA-BCA6-26FE207CC399}"/>
              </a:ext>
            </a:extLst>
          </p:cNvPr>
          <p:cNvSpPr>
            <a:spLocks noGrp="1"/>
          </p:cNvSpPr>
          <p:nvPr>
            <p:ph type="sldNum" sz="quarter" idx="12"/>
          </p:nvPr>
        </p:nvSpPr>
        <p:spPr/>
        <p:txBody>
          <a:bodyPr/>
          <a:lstStyle/>
          <a:p>
            <a:fld id="{FDCA1564-7A75-4133-B187-E9EBBC6305BE}" type="slidenum">
              <a:rPr lang="en-US" smtClean="0"/>
              <a:t>‹#›</a:t>
            </a:fld>
            <a:endParaRPr lang="en-US"/>
          </a:p>
        </p:txBody>
      </p:sp>
    </p:spTree>
    <p:extLst>
      <p:ext uri="{BB962C8B-B14F-4D97-AF65-F5344CB8AC3E}">
        <p14:creationId xmlns:p14="http://schemas.microsoft.com/office/powerpoint/2010/main" val="28970405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09D273-4464-481A-A950-F057F87E2025}" type="datetimeFigureOut">
              <a:rPr lang="en-US" smtClean="0"/>
              <a:t>2/1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C4CB8B0-84CF-4C32-B26B-09E9F6678274}" type="slidenum">
              <a:rPr lang="en-US" smtClean="0"/>
              <a:t>‹#›</a:t>
            </a:fld>
            <a:endParaRPr lang="en-US"/>
          </a:p>
        </p:txBody>
      </p:sp>
    </p:spTree>
    <p:extLst>
      <p:ext uri="{BB962C8B-B14F-4D97-AF65-F5344CB8AC3E}">
        <p14:creationId xmlns:p14="http://schemas.microsoft.com/office/powerpoint/2010/main" val="22576257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캡션 있는 콘텐츠">
    <p:spTree>
      <p:nvGrpSpPr>
        <p:cNvPr id="1" name=""/>
        <p:cNvGrpSpPr/>
        <p:nvPr/>
      </p:nvGrpSpPr>
      <p:grpSpPr>
        <a:xfrm>
          <a:off x="0" y="0"/>
          <a:ext cx="0" cy="0"/>
          <a:chOff x="0" y="0"/>
          <a:chExt cx="0" cy="0"/>
        </a:xfrm>
      </p:grpSpPr>
      <p:sp>
        <p:nvSpPr>
          <p:cNvPr id="14" name="그림 개체 틀 13">
            <a:extLst>
              <a:ext uri="{FF2B5EF4-FFF2-40B4-BE49-F238E27FC236}">
                <a16:creationId xmlns:a16="http://schemas.microsoft.com/office/drawing/2014/main" id="{C984BCAE-4751-4016-9AB6-7BECCAEB5EE6}"/>
              </a:ext>
            </a:extLst>
          </p:cNvPr>
          <p:cNvSpPr>
            <a:spLocks noGrp="1"/>
          </p:cNvSpPr>
          <p:nvPr>
            <p:ph type="pic" idx="16" hasCustomPrompt="1"/>
          </p:nvPr>
        </p:nvSpPr>
        <p:spPr>
          <a:xfrm>
            <a:off x="5661437" y="0"/>
            <a:ext cx="6530564" cy="6858000"/>
          </a:xfrm>
          <a:custGeom>
            <a:avLst/>
            <a:gdLst>
              <a:gd name="connsiteX0" fmla="*/ 4044771 w 6530564"/>
              <a:gd name="connsiteY0" fmla="*/ 6093451 h 6858000"/>
              <a:gd name="connsiteX1" fmla="*/ 4045742 w 6530564"/>
              <a:gd name="connsiteY1" fmla="*/ 6095312 h 6858000"/>
              <a:gd name="connsiteX2" fmla="*/ 4035428 w 6530564"/>
              <a:gd name="connsiteY2" fmla="*/ 6095447 h 6858000"/>
              <a:gd name="connsiteX3" fmla="*/ 4044771 w 6530564"/>
              <a:gd name="connsiteY3" fmla="*/ 6093451 h 6858000"/>
              <a:gd name="connsiteX4" fmla="*/ 4313376 w 6530564"/>
              <a:gd name="connsiteY4" fmla="*/ 6001876 h 6858000"/>
              <a:gd name="connsiteX5" fmla="*/ 4333057 w 6530564"/>
              <a:gd name="connsiteY5" fmla="*/ 6002555 h 6858000"/>
              <a:gd name="connsiteX6" fmla="*/ 4334056 w 6530564"/>
              <a:gd name="connsiteY6" fmla="*/ 6007226 h 6858000"/>
              <a:gd name="connsiteX7" fmla="*/ 4335053 w 6530564"/>
              <a:gd name="connsiteY7" fmla="*/ 6011898 h 6858000"/>
              <a:gd name="connsiteX8" fmla="*/ 4253651 w 6530564"/>
              <a:gd name="connsiteY8" fmla="*/ 6019520 h 6858000"/>
              <a:gd name="connsiteX9" fmla="*/ 4308706 w 6530564"/>
              <a:gd name="connsiteY9" fmla="*/ 6002875 h 6858000"/>
              <a:gd name="connsiteX10" fmla="*/ 4371425 w 6530564"/>
              <a:gd name="connsiteY10" fmla="*/ 5999243 h 6858000"/>
              <a:gd name="connsiteX11" fmla="*/ 4381959 w 6530564"/>
              <a:gd name="connsiteY11" fmla="*/ 5999606 h 6858000"/>
              <a:gd name="connsiteX12" fmla="*/ 4343399 w 6530564"/>
              <a:gd name="connsiteY12" fmla="*/ 6005230 h 6858000"/>
              <a:gd name="connsiteX13" fmla="*/ 4348069 w 6530564"/>
              <a:gd name="connsiteY13" fmla="*/ 6004231 h 6858000"/>
              <a:gd name="connsiteX14" fmla="*/ 4352740 w 6530564"/>
              <a:gd name="connsiteY14" fmla="*/ 6003234 h 6858000"/>
              <a:gd name="connsiteX15" fmla="*/ 4371425 w 6530564"/>
              <a:gd name="connsiteY15" fmla="*/ 5999243 h 6858000"/>
              <a:gd name="connsiteX16" fmla="*/ 5313770 w 6530564"/>
              <a:gd name="connsiteY16" fmla="*/ 5992063 h 6858000"/>
              <a:gd name="connsiteX17" fmla="*/ 5303509 w 6530564"/>
              <a:gd name="connsiteY17" fmla="*/ 5995476 h 6858000"/>
              <a:gd name="connsiteX18" fmla="*/ 5304507 w 6530564"/>
              <a:gd name="connsiteY18" fmla="*/ 6000145 h 6858000"/>
              <a:gd name="connsiteX19" fmla="*/ 5254793 w 6530564"/>
              <a:gd name="connsiteY19" fmla="*/ 6024769 h 6858000"/>
              <a:gd name="connsiteX20" fmla="*/ 5317025 w 6530564"/>
              <a:gd name="connsiteY20" fmla="*/ 5995549 h 6858000"/>
              <a:gd name="connsiteX21" fmla="*/ 4434660 w 6530564"/>
              <a:gd name="connsiteY21" fmla="*/ 5991919 h 6858000"/>
              <a:gd name="connsiteX22" fmla="*/ 4395777 w 6530564"/>
              <a:gd name="connsiteY22" fmla="*/ 5998924 h 6858000"/>
              <a:gd name="connsiteX23" fmla="*/ 4391107 w 6530564"/>
              <a:gd name="connsiteY23" fmla="*/ 5999922 h 6858000"/>
              <a:gd name="connsiteX24" fmla="*/ 4381959 w 6530564"/>
              <a:gd name="connsiteY24" fmla="*/ 5999606 h 6858000"/>
              <a:gd name="connsiteX25" fmla="*/ 5563150 w 6530564"/>
              <a:gd name="connsiteY25" fmla="*/ 5743821 h 6858000"/>
              <a:gd name="connsiteX26" fmla="*/ 5562539 w 6530564"/>
              <a:gd name="connsiteY26" fmla="*/ 5744767 h 6858000"/>
              <a:gd name="connsiteX27" fmla="*/ 5557868 w 6530564"/>
              <a:gd name="connsiteY27" fmla="*/ 5745764 h 6858000"/>
              <a:gd name="connsiteX28" fmla="*/ 2418715 w 6530564"/>
              <a:gd name="connsiteY28" fmla="*/ 5683798 h 6858000"/>
              <a:gd name="connsiteX29" fmla="*/ 2423109 w 6530564"/>
              <a:gd name="connsiteY29" fmla="*/ 5687744 h 6858000"/>
              <a:gd name="connsiteX30" fmla="*/ 2419712 w 6530564"/>
              <a:gd name="connsiteY30" fmla="*/ 5688470 h 6858000"/>
              <a:gd name="connsiteX31" fmla="*/ 2418715 w 6530564"/>
              <a:gd name="connsiteY31" fmla="*/ 5683798 h 6858000"/>
              <a:gd name="connsiteX32" fmla="*/ 5855983 w 6530564"/>
              <a:gd name="connsiteY32" fmla="*/ 5403674 h 6858000"/>
              <a:gd name="connsiteX33" fmla="*/ 5851753 w 6530564"/>
              <a:gd name="connsiteY33" fmla="*/ 5406742 h 6858000"/>
              <a:gd name="connsiteX34" fmla="*/ 5851313 w 6530564"/>
              <a:gd name="connsiteY34" fmla="*/ 5404671 h 6858000"/>
              <a:gd name="connsiteX35" fmla="*/ 5855983 w 6530564"/>
              <a:gd name="connsiteY35" fmla="*/ 5403674 h 6858000"/>
              <a:gd name="connsiteX36" fmla="*/ 4512474 w 6530564"/>
              <a:gd name="connsiteY36" fmla="*/ 5165146 h 6858000"/>
              <a:gd name="connsiteX37" fmla="*/ 4513179 w 6530564"/>
              <a:gd name="connsiteY37" fmla="*/ 5165335 h 6858000"/>
              <a:gd name="connsiteX38" fmla="*/ 4508315 w 6530564"/>
              <a:gd name="connsiteY38" fmla="*/ 5167547 h 6858000"/>
              <a:gd name="connsiteX39" fmla="*/ 4512474 w 6530564"/>
              <a:gd name="connsiteY39" fmla="*/ 5165146 h 6858000"/>
              <a:gd name="connsiteX40" fmla="*/ 4373541 w 6530564"/>
              <a:gd name="connsiteY40" fmla="*/ 5128612 h 6858000"/>
              <a:gd name="connsiteX41" fmla="*/ 4362165 w 6530564"/>
              <a:gd name="connsiteY41" fmla="*/ 5131201 h 6858000"/>
              <a:gd name="connsiteX42" fmla="*/ 4370545 w 6530564"/>
              <a:gd name="connsiteY42" fmla="*/ 5130631 h 6858000"/>
              <a:gd name="connsiteX43" fmla="*/ 3626785 w 6530564"/>
              <a:gd name="connsiteY43" fmla="*/ 5124711 h 6858000"/>
              <a:gd name="connsiteX44" fmla="*/ 3639907 w 6530564"/>
              <a:gd name="connsiteY44" fmla="*/ 5128227 h 6858000"/>
              <a:gd name="connsiteX45" fmla="*/ 3629186 w 6530564"/>
              <a:gd name="connsiteY45" fmla="*/ 5128871 h 6858000"/>
              <a:gd name="connsiteX46" fmla="*/ 3625905 w 6530564"/>
              <a:gd name="connsiteY46" fmla="*/ 5127992 h 6858000"/>
              <a:gd name="connsiteX47" fmla="*/ 3622627 w 6530564"/>
              <a:gd name="connsiteY47" fmla="*/ 5127114 h 6858000"/>
              <a:gd name="connsiteX48" fmla="*/ 3619346 w 6530564"/>
              <a:gd name="connsiteY48" fmla="*/ 5126234 h 6858000"/>
              <a:gd name="connsiteX49" fmla="*/ 3626785 w 6530564"/>
              <a:gd name="connsiteY49" fmla="*/ 5124711 h 6858000"/>
              <a:gd name="connsiteX50" fmla="*/ 3360612 w 6530564"/>
              <a:gd name="connsiteY50" fmla="*/ 5081517 h 6858000"/>
              <a:gd name="connsiteX51" fmla="*/ 3363892 w 6530564"/>
              <a:gd name="connsiteY51" fmla="*/ 5082396 h 6858000"/>
              <a:gd name="connsiteX52" fmla="*/ 3359734 w 6530564"/>
              <a:gd name="connsiteY52" fmla="*/ 5084797 h 6858000"/>
              <a:gd name="connsiteX53" fmla="*/ 3360612 w 6530564"/>
              <a:gd name="connsiteY53" fmla="*/ 5081517 h 6858000"/>
              <a:gd name="connsiteX54" fmla="*/ 3200777 w 6530564"/>
              <a:gd name="connsiteY54" fmla="*/ 5049024 h 6858000"/>
              <a:gd name="connsiteX55" fmla="*/ 3203804 w 6530564"/>
              <a:gd name="connsiteY55" fmla="*/ 5050048 h 6858000"/>
              <a:gd name="connsiteX56" fmla="*/ 3200523 w 6530564"/>
              <a:gd name="connsiteY56" fmla="*/ 5049169 h 6858000"/>
              <a:gd name="connsiteX57" fmla="*/ 3219693 w 6530564"/>
              <a:gd name="connsiteY57" fmla="*/ 5047769 h 6858000"/>
              <a:gd name="connsiteX58" fmla="*/ 3228523 w 6530564"/>
              <a:gd name="connsiteY58" fmla="*/ 5049640 h 6858000"/>
              <a:gd name="connsiteX59" fmla="*/ 3230924 w 6530564"/>
              <a:gd name="connsiteY59" fmla="*/ 5053799 h 6858000"/>
              <a:gd name="connsiteX60" fmla="*/ 3234205 w 6530564"/>
              <a:gd name="connsiteY60" fmla="*/ 5054678 h 6858000"/>
              <a:gd name="connsiteX61" fmla="*/ 3236606 w 6530564"/>
              <a:gd name="connsiteY61" fmla="*/ 5058838 h 6858000"/>
              <a:gd name="connsiteX62" fmla="*/ 3239886 w 6530564"/>
              <a:gd name="connsiteY62" fmla="*/ 5059716 h 6858000"/>
              <a:gd name="connsiteX63" fmla="*/ 3240766 w 6530564"/>
              <a:gd name="connsiteY63" fmla="*/ 5056436 h 6858000"/>
              <a:gd name="connsiteX64" fmla="*/ 3267886 w 6530564"/>
              <a:gd name="connsiteY64" fmla="*/ 5060188 h 6858000"/>
              <a:gd name="connsiteX65" fmla="*/ 3267006 w 6530564"/>
              <a:gd name="connsiteY65" fmla="*/ 5063467 h 6858000"/>
              <a:gd name="connsiteX66" fmla="*/ 3273569 w 6530564"/>
              <a:gd name="connsiteY66" fmla="*/ 5065226 h 6858000"/>
              <a:gd name="connsiteX67" fmla="*/ 3276848 w 6530564"/>
              <a:gd name="connsiteY67" fmla="*/ 5066104 h 6858000"/>
              <a:gd name="connsiteX68" fmla="*/ 3308771 w 6530564"/>
              <a:gd name="connsiteY68" fmla="*/ 5078174 h 6858000"/>
              <a:gd name="connsiteX69" fmla="*/ 3309651 w 6530564"/>
              <a:gd name="connsiteY69" fmla="*/ 5074894 h 6858000"/>
              <a:gd name="connsiteX70" fmla="*/ 3312052 w 6530564"/>
              <a:gd name="connsiteY70" fmla="*/ 5079053 h 6858000"/>
              <a:gd name="connsiteX71" fmla="*/ 3316211 w 6530564"/>
              <a:gd name="connsiteY71" fmla="*/ 5076651 h 6858000"/>
              <a:gd name="connsiteX72" fmla="*/ 3335893 w 6530564"/>
              <a:gd name="connsiteY72" fmla="*/ 5081925 h 6858000"/>
              <a:gd name="connsiteX73" fmla="*/ 3346612 w 6530564"/>
              <a:gd name="connsiteY73" fmla="*/ 5081283 h 6858000"/>
              <a:gd name="connsiteX74" fmla="*/ 3349015 w 6530564"/>
              <a:gd name="connsiteY74" fmla="*/ 5085441 h 6858000"/>
              <a:gd name="connsiteX75" fmla="*/ 3354053 w 6530564"/>
              <a:gd name="connsiteY75" fmla="*/ 5079760 h 6858000"/>
              <a:gd name="connsiteX76" fmla="*/ 3353173 w 6530564"/>
              <a:gd name="connsiteY76" fmla="*/ 5083040 h 6858000"/>
              <a:gd name="connsiteX77" fmla="*/ 3356453 w 6530564"/>
              <a:gd name="connsiteY77" fmla="*/ 5083919 h 6858000"/>
              <a:gd name="connsiteX78" fmla="*/ 3359734 w 6530564"/>
              <a:gd name="connsiteY78" fmla="*/ 5084797 h 6858000"/>
              <a:gd name="connsiteX79" fmla="*/ 3363013 w 6530564"/>
              <a:gd name="connsiteY79" fmla="*/ 5085677 h 6858000"/>
              <a:gd name="connsiteX80" fmla="*/ 3366295 w 6530564"/>
              <a:gd name="connsiteY80" fmla="*/ 5086556 h 6858000"/>
              <a:gd name="connsiteX81" fmla="*/ 3371975 w 6530564"/>
              <a:gd name="connsiteY81" fmla="*/ 5091594 h 6858000"/>
              <a:gd name="connsiteX82" fmla="*/ 3379415 w 6530564"/>
              <a:gd name="connsiteY82" fmla="*/ 5090071 h 6858000"/>
              <a:gd name="connsiteX83" fmla="*/ 3398218 w 6530564"/>
              <a:gd name="connsiteY83" fmla="*/ 5098625 h 6858000"/>
              <a:gd name="connsiteX84" fmla="*/ 3338294 w 6530564"/>
              <a:gd name="connsiteY84" fmla="*/ 5086085 h 6858000"/>
              <a:gd name="connsiteX85" fmla="*/ 3309415 w 6530564"/>
              <a:gd name="connsiteY85" fmla="*/ 5088893 h 6858000"/>
              <a:gd name="connsiteX86" fmla="*/ 3275734 w 6530564"/>
              <a:gd name="connsiteY86" fmla="*/ 5083385 h 6858000"/>
              <a:gd name="connsiteX87" fmla="*/ 3221727 w 6530564"/>
              <a:gd name="connsiteY87" fmla="*/ 5061883 h 6858000"/>
              <a:gd name="connsiteX88" fmla="*/ 3225887 w 6530564"/>
              <a:gd name="connsiteY88" fmla="*/ 5059480 h 6858000"/>
              <a:gd name="connsiteX89" fmla="*/ 3222606 w 6530564"/>
              <a:gd name="connsiteY89" fmla="*/ 5058602 h 6858000"/>
              <a:gd name="connsiteX90" fmla="*/ 3210364 w 6530564"/>
              <a:gd name="connsiteY90" fmla="*/ 5051805 h 6858000"/>
              <a:gd name="connsiteX91" fmla="*/ 3207083 w 6530564"/>
              <a:gd name="connsiteY91" fmla="*/ 5050927 h 6858000"/>
              <a:gd name="connsiteX92" fmla="*/ 3207921 w 6530564"/>
              <a:gd name="connsiteY92" fmla="*/ 5047800 h 6858000"/>
              <a:gd name="connsiteX93" fmla="*/ 3213235 w 6530564"/>
              <a:gd name="connsiteY93" fmla="*/ 5049498 h 6858000"/>
              <a:gd name="connsiteX94" fmla="*/ 3219693 w 6530564"/>
              <a:gd name="connsiteY94" fmla="*/ 5047769 h 6858000"/>
              <a:gd name="connsiteX95" fmla="*/ 3204682 w 6530564"/>
              <a:gd name="connsiteY95" fmla="*/ 5046768 h 6858000"/>
              <a:gd name="connsiteX96" fmla="*/ 3207964 w 6530564"/>
              <a:gd name="connsiteY96" fmla="*/ 5047647 h 6858000"/>
              <a:gd name="connsiteX97" fmla="*/ 3207921 w 6530564"/>
              <a:gd name="connsiteY97" fmla="*/ 5047800 h 6858000"/>
              <a:gd name="connsiteX98" fmla="*/ 1727225 w 6530564"/>
              <a:gd name="connsiteY98" fmla="*/ 5030520 h 6858000"/>
              <a:gd name="connsiteX99" fmla="*/ 1725536 w 6530564"/>
              <a:gd name="connsiteY99" fmla="*/ 5030881 h 6858000"/>
              <a:gd name="connsiteX100" fmla="*/ 1727974 w 6530564"/>
              <a:gd name="connsiteY100" fmla="*/ 5034027 h 6858000"/>
              <a:gd name="connsiteX101" fmla="*/ 4899046 w 6530564"/>
              <a:gd name="connsiteY101" fmla="*/ 4955822 h 6858000"/>
              <a:gd name="connsiteX102" fmla="*/ 4902327 w 6530564"/>
              <a:gd name="connsiteY102" fmla="*/ 4956701 h 6858000"/>
              <a:gd name="connsiteX103" fmla="*/ 4898167 w 6530564"/>
              <a:gd name="connsiteY103" fmla="*/ 4959102 h 6858000"/>
              <a:gd name="connsiteX104" fmla="*/ 4899046 w 6530564"/>
              <a:gd name="connsiteY104" fmla="*/ 4955822 h 6858000"/>
              <a:gd name="connsiteX105" fmla="*/ 4909765 w 6530564"/>
              <a:gd name="connsiteY105" fmla="*/ 4955178 h 6858000"/>
              <a:gd name="connsiteX106" fmla="*/ 4908886 w 6530564"/>
              <a:gd name="connsiteY106" fmla="*/ 4958459 h 6858000"/>
              <a:gd name="connsiteX107" fmla="*/ 4904727 w 6530564"/>
              <a:gd name="connsiteY107" fmla="*/ 4960860 h 6858000"/>
              <a:gd name="connsiteX108" fmla="*/ 4886804 w 6530564"/>
              <a:gd name="connsiteY108" fmla="*/ 4949025 h 6858000"/>
              <a:gd name="connsiteX109" fmla="*/ 4885925 w 6530564"/>
              <a:gd name="connsiteY109" fmla="*/ 4952305 h 6858000"/>
              <a:gd name="connsiteX110" fmla="*/ 4882645 w 6530564"/>
              <a:gd name="connsiteY110" fmla="*/ 4951427 h 6858000"/>
              <a:gd name="connsiteX111" fmla="*/ 4886804 w 6530564"/>
              <a:gd name="connsiteY111" fmla="*/ 4949025 h 6858000"/>
              <a:gd name="connsiteX112" fmla="*/ 1904088 w 6530564"/>
              <a:gd name="connsiteY112" fmla="*/ 4943893 h 6858000"/>
              <a:gd name="connsiteX113" fmla="*/ 1909757 w 6530564"/>
              <a:gd name="connsiteY113" fmla="*/ 4947566 h 6858000"/>
              <a:gd name="connsiteX114" fmla="*/ 1905087 w 6530564"/>
              <a:gd name="connsiteY114" fmla="*/ 4948563 h 6858000"/>
              <a:gd name="connsiteX115" fmla="*/ 4977467 w 6530564"/>
              <a:gd name="connsiteY115" fmla="*/ 4879455 h 6858000"/>
              <a:gd name="connsiteX116" fmla="*/ 4858971 w 6530564"/>
              <a:gd name="connsiteY116" fmla="*/ 4948076 h 6858000"/>
              <a:gd name="connsiteX117" fmla="*/ 4660094 w 6530564"/>
              <a:gd name="connsiteY117" fmla="*/ 5042804 h 6858000"/>
              <a:gd name="connsiteX118" fmla="*/ 4444457 w 6530564"/>
              <a:gd name="connsiteY118" fmla="*/ 5112467 h 6858000"/>
              <a:gd name="connsiteX119" fmla="*/ 4389558 w 6530564"/>
              <a:gd name="connsiteY119" fmla="*/ 5124965 h 6858000"/>
              <a:gd name="connsiteX120" fmla="*/ 4383717 w 6530564"/>
              <a:gd name="connsiteY120" fmla="*/ 5128009 h 6858000"/>
              <a:gd name="connsiteX121" fmla="*/ 4343187 w 6530564"/>
              <a:gd name="connsiteY121" fmla="*/ 5140882 h 6858000"/>
              <a:gd name="connsiteX122" fmla="*/ 4339907 w 6530564"/>
              <a:gd name="connsiteY122" fmla="*/ 5140002 h 6858000"/>
              <a:gd name="connsiteX123" fmla="*/ 4336627 w 6530564"/>
              <a:gd name="connsiteY123" fmla="*/ 5139123 h 6858000"/>
              <a:gd name="connsiteX124" fmla="*/ 4335748 w 6530564"/>
              <a:gd name="connsiteY124" fmla="*/ 5142403 h 6858000"/>
              <a:gd name="connsiteX125" fmla="*/ 4317590 w 6530564"/>
              <a:gd name="connsiteY125" fmla="*/ 5144570 h 6858000"/>
              <a:gd name="connsiteX126" fmla="*/ 4314308 w 6530564"/>
              <a:gd name="connsiteY126" fmla="*/ 5143691 h 6858000"/>
              <a:gd name="connsiteX127" fmla="*/ 4310149 w 6530564"/>
              <a:gd name="connsiteY127" fmla="*/ 5146092 h 6858000"/>
              <a:gd name="connsiteX128" fmla="*/ 4313430 w 6530564"/>
              <a:gd name="connsiteY128" fmla="*/ 5146971 h 6858000"/>
              <a:gd name="connsiteX129" fmla="*/ 4271193 w 6530564"/>
              <a:gd name="connsiteY129" fmla="*/ 5160265 h 6858000"/>
              <a:gd name="connsiteX130" fmla="*/ 4272073 w 6530564"/>
              <a:gd name="connsiteY130" fmla="*/ 5156984 h 6858000"/>
              <a:gd name="connsiteX131" fmla="*/ 4268793 w 6530564"/>
              <a:gd name="connsiteY131" fmla="*/ 5156105 h 6858000"/>
              <a:gd name="connsiteX132" fmla="*/ 4264633 w 6530564"/>
              <a:gd name="connsiteY132" fmla="*/ 5158507 h 6858000"/>
              <a:gd name="connsiteX133" fmla="*/ 4263755 w 6530564"/>
              <a:gd name="connsiteY133" fmla="*/ 5161788 h 6858000"/>
              <a:gd name="connsiteX134" fmla="*/ 4260474 w 6530564"/>
              <a:gd name="connsiteY134" fmla="*/ 5160908 h 6858000"/>
              <a:gd name="connsiteX135" fmla="*/ 4239034 w 6530564"/>
              <a:gd name="connsiteY135" fmla="*/ 5162195 h 6858000"/>
              <a:gd name="connsiteX136" fmla="*/ 4233996 w 6530564"/>
              <a:gd name="connsiteY136" fmla="*/ 5167877 h 6858000"/>
              <a:gd name="connsiteX137" fmla="*/ 4226557 w 6530564"/>
              <a:gd name="connsiteY137" fmla="*/ 5169398 h 6858000"/>
              <a:gd name="connsiteX138" fmla="*/ 4224157 w 6530564"/>
              <a:gd name="connsiteY138" fmla="*/ 5165240 h 6858000"/>
              <a:gd name="connsiteX139" fmla="*/ 4219997 w 6530564"/>
              <a:gd name="connsiteY139" fmla="*/ 5167641 h 6858000"/>
              <a:gd name="connsiteX140" fmla="*/ 4215837 w 6530564"/>
              <a:gd name="connsiteY140" fmla="*/ 5170042 h 6858000"/>
              <a:gd name="connsiteX141" fmla="*/ 4181921 w 6530564"/>
              <a:gd name="connsiteY141" fmla="*/ 5178534 h 6858000"/>
              <a:gd name="connsiteX142" fmla="*/ 4195921 w 6530564"/>
              <a:gd name="connsiteY142" fmla="*/ 5178768 h 6858000"/>
              <a:gd name="connsiteX143" fmla="*/ 4211678 w 6530564"/>
              <a:gd name="connsiteY143" fmla="*/ 5172443 h 6858000"/>
              <a:gd name="connsiteX144" fmla="*/ 4214959 w 6530564"/>
              <a:gd name="connsiteY144" fmla="*/ 5173322 h 6858000"/>
              <a:gd name="connsiteX145" fmla="*/ 4218239 w 6530564"/>
              <a:gd name="connsiteY145" fmla="*/ 5174202 h 6858000"/>
              <a:gd name="connsiteX146" fmla="*/ 4225678 w 6530564"/>
              <a:gd name="connsiteY146" fmla="*/ 5172679 h 6858000"/>
              <a:gd name="connsiteX147" fmla="*/ 4256315 w 6530564"/>
              <a:gd name="connsiteY147" fmla="*/ 5163309 h 6858000"/>
              <a:gd name="connsiteX148" fmla="*/ 4262875 w 6530564"/>
              <a:gd name="connsiteY148" fmla="*/ 5165067 h 6858000"/>
              <a:gd name="connsiteX149" fmla="*/ 4266157 w 6530564"/>
              <a:gd name="connsiteY149" fmla="*/ 5165946 h 6858000"/>
              <a:gd name="connsiteX150" fmla="*/ 4272717 w 6530564"/>
              <a:gd name="connsiteY150" fmla="*/ 5167703 h 6858000"/>
              <a:gd name="connsiteX151" fmla="*/ 4273595 w 6530564"/>
              <a:gd name="connsiteY151" fmla="*/ 5164424 h 6858000"/>
              <a:gd name="connsiteX152" fmla="*/ 4274474 w 6530564"/>
              <a:gd name="connsiteY152" fmla="*/ 5161144 h 6858000"/>
              <a:gd name="connsiteX153" fmla="*/ 4290233 w 6530564"/>
              <a:gd name="connsiteY153" fmla="*/ 5154819 h 6858000"/>
              <a:gd name="connsiteX154" fmla="*/ 4312551 w 6530564"/>
              <a:gd name="connsiteY154" fmla="*/ 5150251 h 6858000"/>
              <a:gd name="connsiteX155" fmla="*/ 4315831 w 6530564"/>
              <a:gd name="connsiteY155" fmla="*/ 5151131 h 6858000"/>
              <a:gd name="connsiteX156" fmla="*/ 4319110 w 6530564"/>
              <a:gd name="connsiteY156" fmla="*/ 5152009 h 6858000"/>
              <a:gd name="connsiteX157" fmla="*/ 4334869 w 6530564"/>
              <a:gd name="connsiteY157" fmla="*/ 5145684 h 6858000"/>
              <a:gd name="connsiteX158" fmla="*/ 4330709 w 6530564"/>
              <a:gd name="connsiteY158" fmla="*/ 5148085 h 6858000"/>
              <a:gd name="connsiteX159" fmla="*/ 4333989 w 6530564"/>
              <a:gd name="connsiteY159" fmla="*/ 5148964 h 6858000"/>
              <a:gd name="connsiteX160" fmla="*/ 4338149 w 6530564"/>
              <a:gd name="connsiteY160" fmla="*/ 5146563 h 6858000"/>
              <a:gd name="connsiteX161" fmla="*/ 4342309 w 6530564"/>
              <a:gd name="connsiteY161" fmla="*/ 5144162 h 6858000"/>
              <a:gd name="connsiteX162" fmla="*/ 4353029 w 6530564"/>
              <a:gd name="connsiteY162" fmla="*/ 5143519 h 6858000"/>
              <a:gd name="connsiteX163" fmla="*/ 4361347 w 6530564"/>
              <a:gd name="connsiteY163" fmla="*/ 5138715 h 6858000"/>
              <a:gd name="connsiteX164" fmla="*/ 4356309 w 6530564"/>
              <a:gd name="connsiteY164" fmla="*/ 5144397 h 6858000"/>
              <a:gd name="connsiteX165" fmla="*/ 4368785 w 6530564"/>
              <a:gd name="connsiteY165" fmla="*/ 5137194 h 6858000"/>
              <a:gd name="connsiteX166" fmla="*/ 4387825 w 6530564"/>
              <a:gd name="connsiteY166" fmla="*/ 5131747 h 6858000"/>
              <a:gd name="connsiteX167" fmla="*/ 4385187 w 6530564"/>
              <a:gd name="connsiteY167" fmla="*/ 5141588 h 6858000"/>
              <a:gd name="connsiteX168" fmla="*/ 4401825 w 6530564"/>
              <a:gd name="connsiteY168" fmla="*/ 5131982 h 6858000"/>
              <a:gd name="connsiteX169" fmla="*/ 4400945 w 6530564"/>
              <a:gd name="connsiteY169" fmla="*/ 5135263 h 6858000"/>
              <a:gd name="connsiteX170" fmla="*/ 4404225 w 6530564"/>
              <a:gd name="connsiteY170" fmla="*/ 5136142 h 6858000"/>
              <a:gd name="connsiteX171" fmla="*/ 4408385 w 6530564"/>
              <a:gd name="connsiteY171" fmla="*/ 5133740 h 6858000"/>
              <a:gd name="connsiteX172" fmla="*/ 4420862 w 6530564"/>
              <a:gd name="connsiteY172" fmla="*/ 5126537 h 6858000"/>
              <a:gd name="connsiteX173" fmla="*/ 4428303 w 6530564"/>
              <a:gd name="connsiteY173" fmla="*/ 5125014 h 6858000"/>
              <a:gd name="connsiteX174" fmla="*/ 4432461 w 6530564"/>
              <a:gd name="connsiteY174" fmla="*/ 5122611 h 6858000"/>
              <a:gd name="connsiteX175" fmla="*/ 4429181 w 6530564"/>
              <a:gd name="connsiteY175" fmla="*/ 5121733 h 6858000"/>
              <a:gd name="connsiteX176" fmla="*/ 4425901 w 6530564"/>
              <a:gd name="connsiteY176" fmla="*/ 5120854 h 6858000"/>
              <a:gd name="connsiteX177" fmla="*/ 4456537 w 6530564"/>
              <a:gd name="connsiteY177" fmla="*/ 5111486 h 6858000"/>
              <a:gd name="connsiteX178" fmla="*/ 4450621 w 6530564"/>
              <a:gd name="connsiteY178" fmla="*/ 5120446 h 6858000"/>
              <a:gd name="connsiteX179" fmla="*/ 4475575 w 6530564"/>
              <a:gd name="connsiteY179" fmla="*/ 5106039 h 6858000"/>
              <a:gd name="connsiteX180" fmla="*/ 4506211 w 6530564"/>
              <a:gd name="connsiteY180" fmla="*/ 5096669 h 6858000"/>
              <a:gd name="connsiteX181" fmla="*/ 4502053 w 6530564"/>
              <a:gd name="connsiteY181" fmla="*/ 5099070 h 6858000"/>
              <a:gd name="connsiteX182" fmla="*/ 4501174 w 6530564"/>
              <a:gd name="connsiteY182" fmla="*/ 5102350 h 6858000"/>
              <a:gd name="connsiteX183" fmla="*/ 4500295 w 6530564"/>
              <a:gd name="connsiteY183" fmla="*/ 5105631 h 6858000"/>
              <a:gd name="connsiteX184" fmla="*/ 4507735 w 6530564"/>
              <a:gd name="connsiteY184" fmla="*/ 5104109 h 6858000"/>
              <a:gd name="connsiteX185" fmla="*/ 4506857 w 6530564"/>
              <a:gd name="connsiteY185" fmla="*/ 5107388 h 6858000"/>
              <a:gd name="connsiteX186" fmla="*/ 4502697 w 6530564"/>
              <a:gd name="connsiteY186" fmla="*/ 5109791 h 6858000"/>
              <a:gd name="connsiteX187" fmla="*/ 4499417 w 6530564"/>
              <a:gd name="connsiteY187" fmla="*/ 5108911 h 6858000"/>
              <a:gd name="connsiteX188" fmla="*/ 4495258 w 6530564"/>
              <a:gd name="connsiteY188" fmla="*/ 5111312 h 6858000"/>
              <a:gd name="connsiteX189" fmla="*/ 4491098 w 6530564"/>
              <a:gd name="connsiteY189" fmla="*/ 5113713 h 6858000"/>
              <a:gd name="connsiteX190" fmla="*/ 4368551 w 6530564"/>
              <a:gd name="connsiteY190" fmla="*/ 5151193 h 6858000"/>
              <a:gd name="connsiteX191" fmla="*/ 4365269 w 6530564"/>
              <a:gd name="connsiteY191" fmla="*/ 5150314 h 6858000"/>
              <a:gd name="connsiteX192" fmla="*/ 4361112 w 6530564"/>
              <a:gd name="connsiteY192" fmla="*/ 5152715 h 6858000"/>
              <a:gd name="connsiteX193" fmla="*/ 4337913 w 6530564"/>
              <a:gd name="connsiteY193" fmla="*/ 5160563 h 6858000"/>
              <a:gd name="connsiteX194" fmla="*/ 4327194 w 6530564"/>
              <a:gd name="connsiteY194" fmla="*/ 5161207 h 6858000"/>
              <a:gd name="connsiteX195" fmla="*/ 4323035 w 6530564"/>
              <a:gd name="connsiteY195" fmla="*/ 5163608 h 6858000"/>
              <a:gd name="connsiteX196" fmla="*/ 4295678 w 6530564"/>
              <a:gd name="connsiteY196" fmla="*/ 5173857 h 6858000"/>
              <a:gd name="connsiteX197" fmla="*/ 4291519 w 6530564"/>
              <a:gd name="connsiteY197" fmla="*/ 5176258 h 6858000"/>
              <a:gd name="connsiteX198" fmla="*/ 4281679 w 6530564"/>
              <a:gd name="connsiteY198" fmla="*/ 5173621 h 6858000"/>
              <a:gd name="connsiteX199" fmla="*/ 4254323 w 6530564"/>
              <a:gd name="connsiteY199" fmla="*/ 5183870 h 6858000"/>
              <a:gd name="connsiteX200" fmla="*/ 4250163 w 6530564"/>
              <a:gd name="connsiteY200" fmla="*/ 5186271 h 6858000"/>
              <a:gd name="connsiteX201" fmla="*/ 4246882 w 6530564"/>
              <a:gd name="connsiteY201" fmla="*/ 5185391 h 6858000"/>
              <a:gd name="connsiteX202" fmla="*/ 4143607 w 6530564"/>
              <a:gd name="connsiteY202" fmla="*/ 5203426 h 6858000"/>
              <a:gd name="connsiteX203" fmla="*/ 4132010 w 6530564"/>
              <a:gd name="connsiteY203" fmla="*/ 5207349 h 6858000"/>
              <a:gd name="connsiteX204" fmla="*/ 4122169 w 6530564"/>
              <a:gd name="connsiteY204" fmla="*/ 5204713 h 6858000"/>
              <a:gd name="connsiteX205" fmla="*/ 4120410 w 6530564"/>
              <a:gd name="connsiteY205" fmla="*/ 5211273 h 6858000"/>
              <a:gd name="connsiteX206" fmla="*/ 4112971 w 6530564"/>
              <a:gd name="connsiteY206" fmla="*/ 5212796 h 6858000"/>
              <a:gd name="connsiteX207" fmla="*/ 4062652 w 6530564"/>
              <a:gd name="connsiteY207" fmla="*/ 5216892 h 6858000"/>
              <a:gd name="connsiteX208" fmla="*/ 4059373 w 6530564"/>
              <a:gd name="connsiteY208" fmla="*/ 5216012 h 6858000"/>
              <a:gd name="connsiteX209" fmla="*/ 4052812 w 6530564"/>
              <a:gd name="connsiteY209" fmla="*/ 5214255 h 6858000"/>
              <a:gd name="connsiteX210" fmla="*/ 4051933 w 6530564"/>
              <a:gd name="connsiteY210" fmla="*/ 5217535 h 6858000"/>
              <a:gd name="connsiteX211" fmla="*/ 3996577 w 6530564"/>
              <a:gd name="connsiteY211" fmla="*/ 5227313 h 6858000"/>
              <a:gd name="connsiteX212" fmla="*/ 3923940 w 6530564"/>
              <a:gd name="connsiteY212" fmla="*/ 5235976 h 6858000"/>
              <a:gd name="connsiteX213" fmla="*/ 3884340 w 6530564"/>
              <a:gd name="connsiteY213" fmla="*/ 5239430 h 6858000"/>
              <a:gd name="connsiteX214" fmla="*/ 3881060 w 6530564"/>
              <a:gd name="connsiteY214" fmla="*/ 5238550 h 6858000"/>
              <a:gd name="connsiteX215" fmla="*/ 3877781 w 6530564"/>
              <a:gd name="connsiteY215" fmla="*/ 5237671 h 6858000"/>
              <a:gd name="connsiteX216" fmla="*/ 3874499 w 6530564"/>
              <a:gd name="connsiteY216" fmla="*/ 5236793 h 6858000"/>
              <a:gd name="connsiteX217" fmla="*/ 3873621 w 6530564"/>
              <a:gd name="connsiteY217" fmla="*/ 5240072 h 6858000"/>
              <a:gd name="connsiteX218" fmla="*/ 3868581 w 6530564"/>
              <a:gd name="connsiteY218" fmla="*/ 5245755 h 6858000"/>
              <a:gd name="connsiteX219" fmla="*/ 3843864 w 6530564"/>
              <a:gd name="connsiteY219" fmla="*/ 5246161 h 6858000"/>
              <a:gd name="connsiteX220" fmla="*/ 3835544 w 6530564"/>
              <a:gd name="connsiteY220" fmla="*/ 5250965 h 6858000"/>
              <a:gd name="connsiteX221" fmla="*/ 3879302 w 6530564"/>
              <a:gd name="connsiteY221" fmla="*/ 5245111 h 6858000"/>
              <a:gd name="connsiteX222" fmla="*/ 3885863 w 6530564"/>
              <a:gd name="connsiteY222" fmla="*/ 5246869 h 6858000"/>
              <a:gd name="connsiteX223" fmla="*/ 3890023 w 6530564"/>
              <a:gd name="connsiteY223" fmla="*/ 5244468 h 6858000"/>
              <a:gd name="connsiteX224" fmla="*/ 3946901 w 6530564"/>
              <a:gd name="connsiteY224" fmla="*/ 5242128 h 6858000"/>
              <a:gd name="connsiteX225" fmla="*/ 4080577 w 6530564"/>
              <a:gd name="connsiteY225" fmla="*/ 5228726 h 6858000"/>
              <a:gd name="connsiteX226" fmla="*/ 4208569 w 6530564"/>
              <a:gd name="connsiteY226" fmla="*/ 5210285 h 6858000"/>
              <a:gd name="connsiteX227" fmla="*/ 4227607 w 6530564"/>
              <a:gd name="connsiteY227" fmla="*/ 5204840 h 6858000"/>
              <a:gd name="connsiteX228" fmla="*/ 4320161 w 6530564"/>
              <a:gd name="connsiteY228" fmla="*/ 5187449 h 6858000"/>
              <a:gd name="connsiteX229" fmla="*/ 4350799 w 6530564"/>
              <a:gd name="connsiteY229" fmla="*/ 5178079 h 6858000"/>
              <a:gd name="connsiteX230" fmla="*/ 4416232 w 6530564"/>
              <a:gd name="connsiteY230" fmla="*/ 5156937 h 6858000"/>
              <a:gd name="connsiteX231" fmla="*/ 4528059 w 6530564"/>
              <a:gd name="connsiteY231" fmla="*/ 5120102 h 6858000"/>
              <a:gd name="connsiteX232" fmla="*/ 4548856 w 6530564"/>
              <a:gd name="connsiteY232" fmla="*/ 5108094 h 6858000"/>
              <a:gd name="connsiteX233" fmla="*/ 4582773 w 6530564"/>
              <a:gd name="connsiteY233" fmla="*/ 5099604 h 6858000"/>
              <a:gd name="connsiteX234" fmla="*/ 4587811 w 6530564"/>
              <a:gd name="connsiteY234" fmla="*/ 5093923 h 6858000"/>
              <a:gd name="connsiteX235" fmla="*/ 4642524 w 6530564"/>
              <a:gd name="connsiteY235" fmla="*/ 5073425 h 6858000"/>
              <a:gd name="connsiteX236" fmla="*/ 4652601 w 6530564"/>
              <a:gd name="connsiteY236" fmla="*/ 5062062 h 6858000"/>
              <a:gd name="connsiteX237" fmla="*/ 4667481 w 6530564"/>
              <a:gd name="connsiteY237" fmla="*/ 5059017 h 6858000"/>
              <a:gd name="connsiteX238" fmla="*/ 4798817 w 6530564"/>
              <a:gd name="connsiteY238" fmla="*/ 4988734 h 6858000"/>
              <a:gd name="connsiteX239" fmla="*/ 4856167 w 6530564"/>
              <a:gd name="connsiteY239" fmla="*/ 4958396 h 6858000"/>
              <a:gd name="connsiteX240" fmla="*/ 4882880 w 6530564"/>
              <a:gd name="connsiteY240" fmla="*/ 4937426 h 6858000"/>
              <a:gd name="connsiteX241" fmla="*/ 4894479 w 6530564"/>
              <a:gd name="connsiteY241" fmla="*/ 4933504 h 6858000"/>
              <a:gd name="connsiteX242" fmla="*/ 4907835 w 6530564"/>
              <a:gd name="connsiteY242" fmla="*/ 4923019 h 6858000"/>
              <a:gd name="connsiteX243" fmla="*/ 4911115 w 6530564"/>
              <a:gd name="connsiteY243" fmla="*/ 4923898 h 6858000"/>
              <a:gd name="connsiteX244" fmla="*/ 4896879 w 6530564"/>
              <a:gd name="connsiteY244" fmla="*/ 4937664 h 6858000"/>
              <a:gd name="connsiteX245" fmla="*/ 4893599 w 6530564"/>
              <a:gd name="connsiteY245" fmla="*/ 4936784 h 6858000"/>
              <a:gd name="connsiteX246" fmla="*/ 4888561 w 6530564"/>
              <a:gd name="connsiteY246" fmla="*/ 4942464 h 6858000"/>
              <a:gd name="connsiteX247" fmla="*/ 4887682 w 6530564"/>
              <a:gd name="connsiteY247" fmla="*/ 4945746 h 6858000"/>
              <a:gd name="connsiteX248" fmla="*/ 4883523 w 6530564"/>
              <a:gd name="connsiteY248" fmla="*/ 4948147 h 6858000"/>
              <a:gd name="connsiteX249" fmla="*/ 4882645 w 6530564"/>
              <a:gd name="connsiteY249" fmla="*/ 4951427 h 6858000"/>
              <a:gd name="connsiteX250" fmla="*/ 4860969 w 6530564"/>
              <a:gd name="connsiteY250" fmla="*/ 4966714 h 6858000"/>
              <a:gd name="connsiteX251" fmla="*/ 4856811 w 6530564"/>
              <a:gd name="connsiteY251" fmla="*/ 4969115 h 6858000"/>
              <a:gd name="connsiteX252" fmla="*/ 4855931 w 6530564"/>
              <a:gd name="connsiteY252" fmla="*/ 4972396 h 6858000"/>
              <a:gd name="connsiteX253" fmla="*/ 4852651 w 6530564"/>
              <a:gd name="connsiteY253" fmla="*/ 4971516 h 6858000"/>
              <a:gd name="connsiteX254" fmla="*/ 4850250 w 6530564"/>
              <a:gd name="connsiteY254" fmla="*/ 4967358 h 6858000"/>
              <a:gd name="connsiteX255" fmla="*/ 4842575 w 6530564"/>
              <a:gd name="connsiteY255" fmla="*/ 4982879 h 6858000"/>
              <a:gd name="connsiteX256" fmla="*/ 4810180 w 6530564"/>
              <a:gd name="connsiteY256" fmla="*/ 4998810 h 6858000"/>
              <a:gd name="connsiteX257" fmla="*/ 4811059 w 6530564"/>
              <a:gd name="connsiteY257" fmla="*/ 4995529 h 6858000"/>
              <a:gd name="connsiteX258" fmla="*/ 4806900 w 6530564"/>
              <a:gd name="connsiteY258" fmla="*/ 4997932 h 6858000"/>
              <a:gd name="connsiteX259" fmla="*/ 4812817 w 6530564"/>
              <a:gd name="connsiteY259" fmla="*/ 4988970 h 6858000"/>
              <a:gd name="connsiteX260" fmla="*/ 4798581 w 6530564"/>
              <a:gd name="connsiteY260" fmla="*/ 5002734 h 6858000"/>
              <a:gd name="connsiteX261" fmla="*/ 4791141 w 6530564"/>
              <a:gd name="connsiteY261" fmla="*/ 5004257 h 6858000"/>
              <a:gd name="connsiteX262" fmla="*/ 4786983 w 6530564"/>
              <a:gd name="connsiteY262" fmla="*/ 5006658 h 6858000"/>
              <a:gd name="connsiteX263" fmla="*/ 4789383 w 6530564"/>
              <a:gd name="connsiteY263" fmla="*/ 5010818 h 6858000"/>
              <a:gd name="connsiteX264" fmla="*/ 4764429 w 6530564"/>
              <a:gd name="connsiteY264" fmla="*/ 5025225 h 6858000"/>
              <a:gd name="connsiteX265" fmla="*/ 4760269 w 6530564"/>
              <a:gd name="connsiteY265" fmla="*/ 5027626 h 6858000"/>
              <a:gd name="connsiteX266" fmla="*/ 4759391 w 6530564"/>
              <a:gd name="connsiteY266" fmla="*/ 5030907 h 6858000"/>
              <a:gd name="connsiteX267" fmla="*/ 4680365 w 6530564"/>
              <a:gd name="connsiteY267" fmla="*/ 5076532 h 6858000"/>
              <a:gd name="connsiteX268" fmla="*/ 4669645 w 6530564"/>
              <a:gd name="connsiteY268" fmla="*/ 5077175 h 6858000"/>
              <a:gd name="connsiteX269" fmla="*/ 4664607 w 6530564"/>
              <a:gd name="connsiteY269" fmla="*/ 5082858 h 6858000"/>
              <a:gd name="connsiteX270" fmla="*/ 4596538 w 6530564"/>
              <a:gd name="connsiteY270" fmla="*/ 5113840 h 6858000"/>
              <a:gd name="connsiteX271" fmla="*/ 4525187 w 6530564"/>
              <a:gd name="connsiteY271" fmla="*/ 5143943 h 6858000"/>
              <a:gd name="connsiteX272" fmla="*/ 4514467 w 6530564"/>
              <a:gd name="connsiteY272" fmla="*/ 5144586 h 6858000"/>
              <a:gd name="connsiteX273" fmla="*/ 4516869 w 6530564"/>
              <a:gd name="connsiteY273" fmla="*/ 5148745 h 6858000"/>
              <a:gd name="connsiteX274" fmla="*/ 4474633 w 6530564"/>
              <a:gd name="connsiteY274" fmla="*/ 5162039 h 6858000"/>
              <a:gd name="connsiteX275" fmla="*/ 4447277 w 6530564"/>
              <a:gd name="connsiteY275" fmla="*/ 5172288 h 6858000"/>
              <a:gd name="connsiteX276" fmla="*/ 4400883 w 6530564"/>
              <a:gd name="connsiteY276" fmla="*/ 5187983 h 6858000"/>
              <a:gd name="connsiteX277" fmla="*/ 4339608 w 6530564"/>
              <a:gd name="connsiteY277" fmla="*/ 5206722 h 6858000"/>
              <a:gd name="connsiteX278" fmla="*/ 4333047 w 6530564"/>
              <a:gd name="connsiteY278" fmla="*/ 5204965 h 6858000"/>
              <a:gd name="connsiteX279" fmla="*/ 4265213 w 6530564"/>
              <a:gd name="connsiteY279" fmla="*/ 5221947 h 6858000"/>
              <a:gd name="connsiteX280" fmla="*/ 4256895 w 6530564"/>
              <a:gd name="connsiteY280" fmla="*/ 5226749 h 6858000"/>
              <a:gd name="connsiteX281" fmla="*/ 4223857 w 6530564"/>
              <a:gd name="connsiteY281" fmla="*/ 5231960 h 6858000"/>
              <a:gd name="connsiteX282" fmla="*/ 4203941 w 6530564"/>
              <a:gd name="connsiteY282" fmla="*/ 5240686 h 6858000"/>
              <a:gd name="connsiteX283" fmla="*/ 4124741 w 6530564"/>
              <a:gd name="connsiteY283" fmla="*/ 5247592 h 6858000"/>
              <a:gd name="connsiteX284" fmla="*/ 4019067 w 6530564"/>
              <a:gd name="connsiteY284" fmla="*/ 5261465 h 6858000"/>
              <a:gd name="connsiteX285" fmla="*/ 3989310 w 6530564"/>
              <a:gd name="connsiteY285" fmla="*/ 5267556 h 6858000"/>
              <a:gd name="connsiteX286" fmla="*/ 3993469 w 6530564"/>
              <a:gd name="connsiteY286" fmla="*/ 5265155 h 6858000"/>
              <a:gd name="connsiteX287" fmla="*/ 3953870 w 6530564"/>
              <a:gd name="connsiteY287" fmla="*/ 5268607 h 6858000"/>
              <a:gd name="connsiteX288" fmla="*/ 3944029 w 6530564"/>
              <a:gd name="connsiteY288" fmla="*/ 5265970 h 6858000"/>
              <a:gd name="connsiteX289" fmla="*/ 3830272 w 6530564"/>
              <a:gd name="connsiteY289" fmla="*/ 5270646 h 6858000"/>
              <a:gd name="connsiteX290" fmla="*/ 3831150 w 6530564"/>
              <a:gd name="connsiteY290" fmla="*/ 5267367 h 6858000"/>
              <a:gd name="connsiteX291" fmla="*/ 3827869 w 6530564"/>
              <a:gd name="connsiteY291" fmla="*/ 5266488 h 6858000"/>
              <a:gd name="connsiteX292" fmla="*/ 3823711 w 6530564"/>
              <a:gd name="connsiteY292" fmla="*/ 5268887 h 6858000"/>
              <a:gd name="connsiteX293" fmla="*/ 3784991 w 6530564"/>
              <a:gd name="connsiteY293" fmla="*/ 5269060 h 6858000"/>
              <a:gd name="connsiteX294" fmla="*/ 3781710 w 6530564"/>
              <a:gd name="connsiteY294" fmla="*/ 5268182 h 6858000"/>
              <a:gd name="connsiteX295" fmla="*/ 3778430 w 6530564"/>
              <a:gd name="connsiteY295" fmla="*/ 5267303 h 6858000"/>
              <a:gd name="connsiteX296" fmla="*/ 3777550 w 6530564"/>
              <a:gd name="connsiteY296" fmla="*/ 5270583 h 6858000"/>
              <a:gd name="connsiteX297" fmla="*/ 3780831 w 6530564"/>
              <a:gd name="connsiteY297" fmla="*/ 5271463 h 6858000"/>
              <a:gd name="connsiteX298" fmla="*/ 3766831 w 6530564"/>
              <a:gd name="connsiteY298" fmla="*/ 5271227 h 6858000"/>
              <a:gd name="connsiteX299" fmla="*/ 3765073 w 6530564"/>
              <a:gd name="connsiteY299" fmla="*/ 5277788 h 6858000"/>
              <a:gd name="connsiteX300" fmla="*/ 3775793 w 6530564"/>
              <a:gd name="connsiteY300" fmla="*/ 5277144 h 6858000"/>
              <a:gd name="connsiteX301" fmla="*/ 3774913 w 6530564"/>
              <a:gd name="connsiteY301" fmla="*/ 5280425 h 6858000"/>
              <a:gd name="connsiteX302" fmla="*/ 3804672 w 6530564"/>
              <a:gd name="connsiteY302" fmla="*/ 5274334 h 6858000"/>
              <a:gd name="connsiteX303" fmla="*/ 3811233 w 6530564"/>
              <a:gd name="connsiteY303" fmla="*/ 5276093 h 6858000"/>
              <a:gd name="connsiteX304" fmla="*/ 3814512 w 6530564"/>
              <a:gd name="connsiteY304" fmla="*/ 5276971 h 6858000"/>
              <a:gd name="connsiteX305" fmla="*/ 3817794 w 6530564"/>
              <a:gd name="connsiteY305" fmla="*/ 5277850 h 6858000"/>
              <a:gd name="connsiteX306" fmla="*/ 3818672 w 6530564"/>
              <a:gd name="connsiteY306" fmla="*/ 5274569 h 6858000"/>
              <a:gd name="connsiteX307" fmla="*/ 3825233 w 6530564"/>
              <a:gd name="connsiteY307" fmla="*/ 5276327 h 6858000"/>
              <a:gd name="connsiteX308" fmla="*/ 3820193 w 6530564"/>
              <a:gd name="connsiteY308" fmla="*/ 5282009 h 6858000"/>
              <a:gd name="connsiteX309" fmla="*/ 3830914 w 6530564"/>
              <a:gd name="connsiteY309" fmla="*/ 5281367 h 6858000"/>
              <a:gd name="connsiteX310" fmla="*/ 3834196 w 6530564"/>
              <a:gd name="connsiteY310" fmla="*/ 5282245 h 6858000"/>
              <a:gd name="connsiteX311" fmla="*/ 3837475 w 6530564"/>
              <a:gd name="connsiteY311" fmla="*/ 5283124 h 6858000"/>
              <a:gd name="connsiteX312" fmla="*/ 3840755 w 6530564"/>
              <a:gd name="connsiteY312" fmla="*/ 5284004 h 6858000"/>
              <a:gd name="connsiteX313" fmla="*/ 3854755 w 6530564"/>
              <a:gd name="connsiteY313" fmla="*/ 5284238 h 6858000"/>
              <a:gd name="connsiteX314" fmla="*/ 3858913 w 6530564"/>
              <a:gd name="connsiteY314" fmla="*/ 5281837 h 6858000"/>
              <a:gd name="connsiteX315" fmla="*/ 3862195 w 6530564"/>
              <a:gd name="connsiteY315" fmla="*/ 5282716 h 6858000"/>
              <a:gd name="connsiteX316" fmla="*/ 3858913 w 6530564"/>
              <a:gd name="connsiteY316" fmla="*/ 5281837 h 6858000"/>
              <a:gd name="connsiteX317" fmla="*/ 3894353 w 6530564"/>
              <a:gd name="connsiteY317" fmla="*/ 5280786 h 6858000"/>
              <a:gd name="connsiteX318" fmla="*/ 3900914 w 6530564"/>
              <a:gd name="connsiteY318" fmla="*/ 5282543 h 6858000"/>
              <a:gd name="connsiteX319" fmla="*/ 3901794 w 6530564"/>
              <a:gd name="connsiteY319" fmla="*/ 5279264 h 6858000"/>
              <a:gd name="connsiteX320" fmla="*/ 3933953 w 6530564"/>
              <a:gd name="connsiteY320" fmla="*/ 5277333 h 6858000"/>
              <a:gd name="connsiteX321" fmla="*/ 3934831 w 6530564"/>
              <a:gd name="connsiteY321" fmla="*/ 5274053 h 6858000"/>
              <a:gd name="connsiteX322" fmla="*/ 3938111 w 6530564"/>
              <a:gd name="connsiteY322" fmla="*/ 5274932 h 6858000"/>
              <a:gd name="connsiteX323" fmla="*/ 3937233 w 6530564"/>
              <a:gd name="connsiteY323" fmla="*/ 5278211 h 6858000"/>
              <a:gd name="connsiteX324" fmla="*/ 3940514 w 6530564"/>
              <a:gd name="connsiteY324" fmla="*/ 5279091 h 6858000"/>
              <a:gd name="connsiteX325" fmla="*/ 3944673 w 6530564"/>
              <a:gd name="connsiteY325" fmla="*/ 5276690 h 6858000"/>
              <a:gd name="connsiteX326" fmla="*/ 4044429 w 6530564"/>
              <a:gd name="connsiteY326" fmla="*/ 5271777 h 6858000"/>
              <a:gd name="connsiteX327" fmla="*/ 4072431 w 6530564"/>
              <a:gd name="connsiteY327" fmla="*/ 5272249 h 6858000"/>
              <a:gd name="connsiteX328" fmla="*/ 4091468 w 6530564"/>
              <a:gd name="connsiteY328" fmla="*/ 5266803 h 6858000"/>
              <a:gd name="connsiteX329" fmla="*/ 4121227 w 6530564"/>
              <a:gd name="connsiteY329" fmla="*/ 5260712 h 6858000"/>
              <a:gd name="connsiteX330" fmla="*/ 4336092 w 6530564"/>
              <a:gd name="connsiteY330" fmla="*/ 5219844 h 6858000"/>
              <a:gd name="connsiteX331" fmla="*/ 4341775 w 6530564"/>
              <a:gd name="connsiteY331" fmla="*/ 5224882 h 6858000"/>
              <a:gd name="connsiteX332" fmla="*/ 4338495 w 6530564"/>
              <a:gd name="connsiteY332" fmla="*/ 5224004 h 6858000"/>
              <a:gd name="connsiteX333" fmla="*/ 4337615 w 6530564"/>
              <a:gd name="connsiteY333" fmla="*/ 5227283 h 6858000"/>
              <a:gd name="connsiteX334" fmla="*/ 4345054 w 6530564"/>
              <a:gd name="connsiteY334" fmla="*/ 5225760 h 6858000"/>
              <a:gd name="connsiteX335" fmla="*/ 4354895 w 6530564"/>
              <a:gd name="connsiteY335" fmla="*/ 5228397 h 6858000"/>
              <a:gd name="connsiteX336" fmla="*/ 4368253 w 6530564"/>
              <a:gd name="connsiteY336" fmla="*/ 5217913 h 6858000"/>
              <a:gd name="connsiteX337" fmla="*/ 4371531 w 6530564"/>
              <a:gd name="connsiteY337" fmla="*/ 5218791 h 6858000"/>
              <a:gd name="connsiteX338" fmla="*/ 4375691 w 6530564"/>
              <a:gd name="connsiteY338" fmla="*/ 5216392 h 6858000"/>
              <a:gd name="connsiteX339" fmla="*/ 4378971 w 6530564"/>
              <a:gd name="connsiteY339" fmla="*/ 5217270 h 6858000"/>
              <a:gd name="connsiteX340" fmla="*/ 4379850 w 6530564"/>
              <a:gd name="connsiteY340" fmla="*/ 5213989 h 6858000"/>
              <a:gd name="connsiteX341" fmla="*/ 4387291 w 6530564"/>
              <a:gd name="connsiteY341" fmla="*/ 5212466 h 6858000"/>
              <a:gd name="connsiteX342" fmla="*/ 4405449 w 6530564"/>
              <a:gd name="connsiteY342" fmla="*/ 5210302 h 6858000"/>
              <a:gd name="connsiteX343" fmla="*/ 4404569 w 6530564"/>
              <a:gd name="connsiteY343" fmla="*/ 5213581 h 6858000"/>
              <a:gd name="connsiteX344" fmla="*/ 4400411 w 6530564"/>
              <a:gd name="connsiteY344" fmla="*/ 5215984 h 6858000"/>
              <a:gd name="connsiteX345" fmla="*/ 4407849 w 6530564"/>
              <a:gd name="connsiteY345" fmla="*/ 5214461 h 6858000"/>
              <a:gd name="connsiteX346" fmla="*/ 4412009 w 6530564"/>
              <a:gd name="connsiteY346" fmla="*/ 5212060 h 6858000"/>
              <a:gd name="connsiteX347" fmla="*/ 4427767 w 6530564"/>
              <a:gd name="connsiteY347" fmla="*/ 5205735 h 6858000"/>
              <a:gd name="connsiteX348" fmla="*/ 4431047 w 6530564"/>
              <a:gd name="connsiteY348" fmla="*/ 5206613 h 6858000"/>
              <a:gd name="connsiteX349" fmla="*/ 4438487 w 6530564"/>
              <a:gd name="connsiteY349" fmla="*/ 5205091 h 6858000"/>
              <a:gd name="connsiteX350" fmla="*/ 4439367 w 6530564"/>
              <a:gd name="connsiteY350" fmla="*/ 5201811 h 6858000"/>
              <a:gd name="connsiteX351" fmla="*/ 4436087 w 6530564"/>
              <a:gd name="connsiteY351" fmla="*/ 5200931 h 6858000"/>
              <a:gd name="connsiteX352" fmla="*/ 4446805 w 6530564"/>
              <a:gd name="connsiteY352" fmla="*/ 5200288 h 6858000"/>
              <a:gd name="connsiteX353" fmla="*/ 4448563 w 6530564"/>
              <a:gd name="connsiteY353" fmla="*/ 5193727 h 6858000"/>
              <a:gd name="connsiteX354" fmla="*/ 4455124 w 6530564"/>
              <a:gd name="connsiteY354" fmla="*/ 5195484 h 6858000"/>
              <a:gd name="connsiteX355" fmla="*/ 4459284 w 6530564"/>
              <a:gd name="connsiteY355" fmla="*/ 5193083 h 6858000"/>
              <a:gd name="connsiteX356" fmla="*/ 4462565 w 6530564"/>
              <a:gd name="connsiteY356" fmla="*/ 5193963 h 6858000"/>
              <a:gd name="connsiteX357" fmla="*/ 4463443 w 6530564"/>
              <a:gd name="connsiteY357" fmla="*/ 5190682 h 6858000"/>
              <a:gd name="connsiteX358" fmla="*/ 4460162 w 6530564"/>
              <a:gd name="connsiteY358" fmla="*/ 5189804 h 6858000"/>
              <a:gd name="connsiteX359" fmla="*/ 4503277 w 6530564"/>
              <a:gd name="connsiteY359" fmla="*/ 5173230 h 6858000"/>
              <a:gd name="connsiteX360" fmla="*/ 4510717 w 6530564"/>
              <a:gd name="connsiteY360" fmla="*/ 5171707 h 6858000"/>
              <a:gd name="connsiteX361" fmla="*/ 4515755 w 6530564"/>
              <a:gd name="connsiteY361" fmla="*/ 5166027 h 6858000"/>
              <a:gd name="connsiteX362" fmla="*/ 4513179 w 6530564"/>
              <a:gd name="connsiteY362" fmla="*/ 5165335 h 6858000"/>
              <a:gd name="connsiteX363" fmla="*/ 4525643 w 6530564"/>
              <a:gd name="connsiteY363" fmla="*/ 5159666 h 6858000"/>
              <a:gd name="connsiteX364" fmla="*/ 4571346 w 6530564"/>
              <a:gd name="connsiteY364" fmla="*/ 5142247 h 6858000"/>
              <a:gd name="connsiteX365" fmla="*/ 4585583 w 6530564"/>
              <a:gd name="connsiteY365" fmla="*/ 5128483 h 6858000"/>
              <a:gd name="connsiteX366" fmla="*/ 4595423 w 6530564"/>
              <a:gd name="connsiteY366" fmla="*/ 5131120 h 6858000"/>
              <a:gd name="connsiteX367" fmla="*/ 4619500 w 6530564"/>
              <a:gd name="connsiteY367" fmla="*/ 5119991 h 6858000"/>
              <a:gd name="connsiteX368" fmla="*/ 4629575 w 6530564"/>
              <a:gd name="connsiteY368" fmla="*/ 5108629 h 6858000"/>
              <a:gd name="connsiteX369" fmla="*/ 4648615 w 6530564"/>
              <a:gd name="connsiteY369" fmla="*/ 5103183 h 6858000"/>
              <a:gd name="connsiteX370" fmla="*/ 4647735 w 6530564"/>
              <a:gd name="connsiteY370" fmla="*/ 5106463 h 6858000"/>
              <a:gd name="connsiteX371" fmla="*/ 4642697 w 6530564"/>
              <a:gd name="connsiteY371" fmla="*/ 5112145 h 6858000"/>
              <a:gd name="connsiteX372" fmla="*/ 4650136 w 6530564"/>
              <a:gd name="connsiteY372" fmla="*/ 5110622 h 6858000"/>
              <a:gd name="connsiteX373" fmla="*/ 4654296 w 6530564"/>
              <a:gd name="connsiteY373" fmla="*/ 5108221 h 6858000"/>
              <a:gd name="connsiteX374" fmla="*/ 4645099 w 6530564"/>
              <a:gd name="connsiteY374" fmla="*/ 5116303 h 6858000"/>
              <a:gd name="connsiteX375" fmla="*/ 4661735 w 6530564"/>
              <a:gd name="connsiteY375" fmla="*/ 5106698 h 6858000"/>
              <a:gd name="connsiteX376" fmla="*/ 4665893 w 6530564"/>
              <a:gd name="connsiteY376" fmla="*/ 5104297 h 6858000"/>
              <a:gd name="connsiteX377" fmla="*/ 4675091 w 6530564"/>
              <a:gd name="connsiteY377" fmla="*/ 5096214 h 6858000"/>
              <a:gd name="connsiteX378" fmla="*/ 4667651 w 6530564"/>
              <a:gd name="connsiteY378" fmla="*/ 5097736 h 6858000"/>
              <a:gd name="connsiteX379" fmla="*/ 4664372 w 6530564"/>
              <a:gd name="connsiteY379" fmla="*/ 5096858 h 6858000"/>
              <a:gd name="connsiteX380" fmla="*/ 4676849 w 6530564"/>
              <a:gd name="connsiteY380" fmla="*/ 5089653 h 6858000"/>
              <a:gd name="connsiteX381" fmla="*/ 4662850 w 6530564"/>
              <a:gd name="connsiteY381" fmla="*/ 5089418 h 6858000"/>
              <a:gd name="connsiteX382" fmla="*/ 4689327 w 6530564"/>
              <a:gd name="connsiteY382" fmla="*/ 5082449 h 6858000"/>
              <a:gd name="connsiteX383" fmla="*/ 4685169 w 6530564"/>
              <a:gd name="connsiteY383" fmla="*/ 5084851 h 6858000"/>
              <a:gd name="connsiteX384" fmla="*/ 4683411 w 6530564"/>
              <a:gd name="connsiteY384" fmla="*/ 5091411 h 6858000"/>
              <a:gd name="connsiteX385" fmla="*/ 4691728 w 6530564"/>
              <a:gd name="connsiteY385" fmla="*/ 5086609 h 6858000"/>
              <a:gd name="connsiteX386" fmla="*/ 4695008 w 6530564"/>
              <a:gd name="connsiteY386" fmla="*/ 5087488 h 6858000"/>
              <a:gd name="connsiteX387" fmla="*/ 4698289 w 6530564"/>
              <a:gd name="connsiteY387" fmla="*/ 5088368 h 6858000"/>
              <a:gd name="connsiteX388" fmla="*/ 4697411 w 6530564"/>
              <a:gd name="connsiteY388" fmla="*/ 5091647 h 6858000"/>
              <a:gd name="connsiteX389" fmla="*/ 4702449 w 6530564"/>
              <a:gd name="connsiteY389" fmla="*/ 5085965 h 6858000"/>
              <a:gd name="connsiteX390" fmla="*/ 4706607 w 6530564"/>
              <a:gd name="connsiteY390" fmla="*/ 5083564 h 6858000"/>
              <a:gd name="connsiteX391" fmla="*/ 4721486 w 6530564"/>
              <a:gd name="connsiteY391" fmla="*/ 5080520 h 6858000"/>
              <a:gd name="connsiteX392" fmla="*/ 4717327 w 6530564"/>
              <a:gd name="connsiteY392" fmla="*/ 5082921 h 6858000"/>
              <a:gd name="connsiteX393" fmla="*/ 4712289 w 6530564"/>
              <a:gd name="connsiteY393" fmla="*/ 5088602 h 6858000"/>
              <a:gd name="connsiteX394" fmla="*/ 4723887 w 6530564"/>
              <a:gd name="connsiteY394" fmla="*/ 5084678 h 6858000"/>
              <a:gd name="connsiteX395" fmla="*/ 4728047 w 6530564"/>
              <a:gd name="connsiteY395" fmla="*/ 5082277 h 6858000"/>
              <a:gd name="connsiteX396" fmla="*/ 4732207 w 6530564"/>
              <a:gd name="connsiteY396" fmla="*/ 5079876 h 6858000"/>
              <a:gd name="connsiteX397" fmla="*/ 4733963 w 6530564"/>
              <a:gd name="connsiteY397" fmla="*/ 5073315 h 6858000"/>
              <a:gd name="connsiteX398" fmla="*/ 4726524 w 6530564"/>
              <a:gd name="connsiteY398" fmla="*/ 5074837 h 6858000"/>
              <a:gd name="connsiteX399" fmla="*/ 4725646 w 6530564"/>
              <a:gd name="connsiteY399" fmla="*/ 5078117 h 6858000"/>
              <a:gd name="connsiteX400" fmla="*/ 4721486 w 6530564"/>
              <a:gd name="connsiteY400" fmla="*/ 5080520 h 6858000"/>
              <a:gd name="connsiteX401" fmla="*/ 4707487 w 6530564"/>
              <a:gd name="connsiteY401" fmla="*/ 5080284 h 6858000"/>
              <a:gd name="connsiteX402" fmla="*/ 4711646 w 6530564"/>
              <a:gd name="connsiteY402" fmla="*/ 5077883 h 6858000"/>
              <a:gd name="connsiteX403" fmla="*/ 4708366 w 6530564"/>
              <a:gd name="connsiteY403" fmla="*/ 5077005 h 6858000"/>
              <a:gd name="connsiteX404" fmla="*/ 4705085 w 6530564"/>
              <a:gd name="connsiteY404" fmla="*/ 5076124 h 6858000"/>
              <a:gd name="connsiteX405" fmla="*/ 4704207 w 6530564"/>
              <a:gd name="connsiteY405" fmla="*/ 5079404 h 6858000"/>
              <a:gd name="connsiteX406" fmla="*/ 4700046 w 6530564"/>
              <a:gd name="connsiteY406" fmla="*/ 5081805 h 6858000"/>
              <a:gd name="connsiteX407" fmla="*/ 4700927 w 6530564"/>
              <a:gd name="connsiteY407" fmla="*/ 5078525 h 6858000"/>
              <a:gd name="connsiteX408" fmla="*/ 4696767 w 6530564"/>
              <a:gd name="connsiteY408" fmla="*/ 5080927 h 6858000"/>
              <a:gd name="connsiteX409" fmla="*/ 4693487 w 6530564"/>
              <a:gd name="connsiteY409" fmla="*/ 5080048 h 6858000"/>
              <a:gd name="connsiteX410" fmla="*/ 4722601 w 6530564"/>
              <a:gd name="connsiteY410" fmla="*/ 5063239 h 6858000"/>
              <a:gd name="connsiteX411" fmla="*/ 4721722 w 6530564"/>
              <a:gd name="connsiteY411" fmla="*/ 5066520 h 6858000"/>
              <a:gd name="connsiteX412" fmla="*/ 4720843 w 6530564"/>
              <a:gd name="connsiteY412" fmla="*/ 5069800 h 6858000"/>
              <a:gd name="connsiteX413" fmla="*/ 4725003 w 6530564"/>
              <a:gd name="connsiteY413" fmla="*/ 5067398 h 6858000"/>
              <a:gd name="connsiteX414" fmla="*/ 4725882 w 6530564"/>
              <a:gd name="connsiteY414" fmla="*/ 5064117 h 6858000"/>
              <a:gd name="connsiteX415" fmla="*/ 4730041 w 6530564"/>
              <a:gd name="connsiteY415" fmla="*/ 5061716 h 6858000"/>
              <a:gd name="connsiteX416" fmla="*/ 4744919 w 6530564"/>
              <a:gd name="connsiteY416" fmla="*/ 5058672 h 6858000"/>
              <a:gd name="connsiteX417" fmla="*/ 4748200 w 6530564"/>
              <a:gd name="connsiteY417" fmla="*/ 5059551 h 6858000"/>
              <a:gd name="connsiteX418" fmla="*/ 4752360 w 6530564"/>
              <a:gd name="connsiteY418" fmla="*/ 5057149 h 6858000"/>
              <a:gd name="connsiteX419" fmla="*/ 4753238 w 6530564"/>
              <a:gd name="connsiteY419" fmla="*/ 5053868 h 6858000"/>
              <a:gd name="connsiteX420" fmla="*/ 4749957 w 6530564"/>
              <a:gd name="connsiteY420" fmla="*/ 5052989 h 6858000"/>
              <a:gd name="connsiteX421" fmla="*/ 4769875 w 6530564"/>
              <a:gd name="connsiteY421" fmla="*/ 5044264 h 6858000"/>
              <a:gd name="connsiteX422" fmla="*/ 4774035 w 6530564"/>
              <a:gd name="connsiteY422" fmla="*/ 5041862 h 6858000"/>
              <a:gd name="connsiteX423" fmla="*/ 4774913 w 6530564"/>
              <a:gd name="connsiteY423" fmla="*/ 5038581 h 6858000"/>
              <a:gd name="connsiteX424" fmla="*/ 4771632 w 6530564"/>
              <a:gd name="connsiteY424" fmla="*/ 5037702 h 6858000"/>
              <a:gd name="connsiteX425" fmla="*/ 4781709 w 6530564"/>
              <a:gd name="connsiteY425" fmla="*/ 5026339 h 6858000"/>
              <a:gd name="connsiteX426" fmla="*/ 4841460 w 6530564"/>
              <a:gd name="connsiteY426" fmla="*/ 5000161 h 6858000"/>
              <a:gd name="connsiteX427" fmla="*/ 4839059 w 6530564"/>
              <a:gd name="connsiteY427" fmla="*/ 4996002 h 6858000"/>
              <a:gd name="connsiteX428" fmla="*/ 4842339 w 6530564"/>
              <a:gd name="connsiteY428" fmla="*/ 4996880 h 6858000"/>
              <a:gd name="connsiteX429" fmla="*/ 4846498 w 6530564"/>
              <a:gd name="connsiteY429" fmla="*/ 4994478 h 6858000"/>
              <a:gd name="connsiteX430" fmla="*/ 4843217 w 6530564"/>
              <a:gd name="connsiteY430" fmla="*/ 4993600 h 6858000"/>
              <a:gd name="connsiteX431" fmla="*/ 4878014 w 6530564"/>
              <a:gd name="connsiteY431" fmla="*/ 4981829 h 6858000"/>
              <a:gd name="connsiteX432" fmla="*/ 4876493 w 6530564"/>
              <a:gd name="connsiteY432" fmla="*/ 4974389 h 6858000"/>
              <a:gd name="connsiteX433" fmla="*/ 4883931 w 6530564"/>
              <a:gd name="connsiteY433" fmla="*/ 4972867 h 6858000"/>
              <a:gd name="connsiteX434" fmla="*/ 4892249 w 6530564"/>
              <a:gd name="connsiteY434" fmla="*/ 4968064 h 6858000"/>
              <a:gd name="connsiteX435" fmla="*/ 4891370 w 6530564"/>
              <a:gd name="connsiteY435" fmla="*/ 4971344 h 6858000"/>
              <a:gd name="connsiteX436" fmla="*/ 4894652 w 6530564"/>
              <a:gd name="connsiteY436" fmla="*/ 4972224 h 6858000"/>
              <a:gd name="connsiteX437" fmla="*/ 4899690 w 6530564"/>
              <a:gd name="connsiteY437" fmla="*/ 4966541 h 6858000"/>
              <a:gd name="connsiteX438" fmla="*/ 4900568 w 6530564"/>
              <a:gd name="connsiteY438" fmla="*/ 4963262 h 6858000"/>
              <a:gd name="connsiteX439" fmla="*/ 4926402 w 6530564"/>
              <a:gd name="connsiteY439" fmla="*/ 4945573 h 6858000"/>
              <a:gd name="connsiteX440" fmla="*/ 4914803 w 6530564"/>
              <a:gd name="connsiteY440" fmla="*/ 4949497 h 6858000"/>
              <a:gd name="connsiteX441" fmla="*/ 4909765 w 6530564"/>
              <a:gd name="connsiteY441" fmla="*/ 4955178 h 6858000"/>
              <a:gd name="connsiteX442" fmla="*/ 4906487 w 6530564"/>
              <a:gd name="connsiteY442" fmla="*/ 4954299 h 6858000"/>
              <a:gd name="connsiteX443" fmla="*/ 4902327 w 6530564"/>
              <a:gd name="connsiteY443" fmla="*/ 4956701 h 6858000"/>
              <a:gd name="connsiteX444" fmla="*/ 4903205 w 6530564"/>
              <a:gd name="connsiteY444" fmla="*/ 4953421 h 6858000"/>
              <a:gd name="connsiteX445" fmla="*/ 4907365 w 6530564"/>
              <a:gd name="connsiteY445" fmla="*/ 4951018 h 6858000"/>
              <a:gd name="connsiteX446" fmla="*/ 4904084 w 6530564"/>
              <a:gd name="connsiteY446" fmla="*/ 4950140 h 6858000"/>
              <a:gd name="connsiteX447" fmla="*/ 4899924 w 6530564"/>
              <a:gd name="connsiteY447" fmla="*/ 4952541 h 6858000"/>
              <a:gd name="connsiteX448" fmla="*/ 4895766 w 6530564"/>
              <a:gd name="connsiteY448" fmla="*/ 4954944 h 6858000"/>
              <a:gd name="connsiteX449" fmla="*/ 4900803 w 6530564"/>
              <a:gd name="connsiteY449" fmla="*/ 4949262 h 6858000"/>
              <a:gd name="connsiteX450" fmla="*/ 4904963 w 6530564"/>
              <a:gd name="connsiteY450" fmla="*/ 4946860 h 6858000"/>
              <a:gd name="connsiteX451" fmla="*/ 4909122 w 6530564"/>
              <a:gd name="connsiteY451" fmla="*/ 4944459 h 6858000"/>
              <a:gd name="connsiteX452" fmla="*/ 4917441 w 6530564"/>
              <a:gd name="connsiteY452" fmla="*/ 4939655 h 6858000"/>
              <a:gd name="connsiteX453" fmla="*/ 4910881 w 6530564"/>
              <a:gd name="connsiteY453" fmla="*/ 4937898 h 6858000"/>
              <a:gd name="connsiteX454" fmla="*/ 4907601 w 6530564"/>
              <a:gd name="connsiteY454" fmla="*/ 4937018 h 6858000"/>
              <a:gd name="connsiteX455" fmla="*/ 4927516 w 6530564"/>
              <a:gd name="connsiteY455" fmla="*/ 4928292 h 6858000"/>
              <a:gd name="connsiteX456" fmla="*/ 4926638 w 6530564"/>
              <a:gd name="connsiteY456" fmla="*/ 4931573 h 6858000"/>
              <a:gd name="connsiteX457" fmla="*/ 4929919 w 6530564"/>
              <a:gd name="connsiteY457" fmla="*/ 4932452 h 6858000"/>
              <a:gd name="connsiteX458" fmla="*/ 4930798 w 6530564"/>
              <a:gd name="connsiteY458" fmla="*/ 4929172 h 6858000"/>
              <a:gd name="connsiteX459" fmla="*/ 4931676 w 6530564"/>
              <a:gd name="connsiteY459" fmla="*/ 4925891 h 6858000"/>
              <a:gd name="connsiteX460" fmla="*/ 4935835 w 6530564"/>
              <a:gd name="connsiteY460" fmla="*/ 4923490 h 6858000"/>
              <a:gd name="connsiteX461" fmla="*/ 4948314 w 6530564"/>
              <a:gd name="connsiteY461" fmla="*/ 4916286 h 6858000"/>
              <a:gd name="connsiteX462" fmla="*/ 4953587 w 6530564"/>
              <a:gd name="connsiteY462" fmla="*/ 4896605 h 6858000"/>
              <a:gd name="connsiteX463" fmla="*/ 4939352 w 6530564"/>
              <a:gd name="connsiteY463" fmla="*/ 4910369 h 6858000"/>
              <a:gd name="connsiteX464" fmla="*/ 4941109 w 6530564"/>
              <a:gd name="connsiteY464" fmla="*/ 4903808 h 6858000"/>
              <a:gd name="connsiteX465" fmla="*/ 4937829 w 6530564"/>
              <a:gd name="connsiteY465" fmla="*/ 4902930 h 6858000"/>
              <a:gd name="connsiteX466" fmla="*/ 4971103 w 6530564"/>
              <a:gd name="connsiteY466" fmla="*/ 4883717 h 6858000"/>
              <a:gd name="connsiteX467" fmla="*/ 6068122 w 6530564"/>
              <a:gd name="connsiteY467" fmla="*/ 4864900 h 6858000"/>
              <a:gd name="connsiteX468" fmla="*/ 6068152 w 6530564"/>
              <a:gd name="connsiteY468" fmla="*/ 4865039 h 6858000"/>
              <a:gd name="connsiteX469" fmla="*/ 6064479 w 6530564"/>
              <a:gd name="connsiteY469" fmla="*/ 4870708 h 6858000"/>
              <a:gd name="connsiteX470" fmla="*/ 2849427 w 6530564"/>
              <a:gd name="connsiteY470" fmla="*/ 4863682 h 6858000"/>
              <a:gd name="connsiteX471" fmla="*/ 2852706 w 6530564"/>
              <a:gd name="connsiteY471" fmla="*/ 4864560 h 6858000"/>
              <a:gd name="connsiteX472" fmla="*/ 2855987 w 6530564"/>
              <a:gd name="connsiteY472" fmla="*/ 4865440 h 6858000"/>
              <a:gd name="connsiteX473" fmla="*/ 2856769 w 6530564"/>
              <a:gd name="connsiteY473" fmla="*/ 4866135 h 6858000"/>
              <a:gd name="connsiteX474" fmla="*/ 5007247 w 6530564"/>
              <a:gd name="connsiteY474" fmla="*/ 4862211 h 6858000"/>
              <a:gd name="connsiteX475" fmla="*/ 4996249 w 6530564"/>
              <a:gd name="connsiteY475" fmla="*/ 4868580 h 6858000"/>
              <a:gd name="connsiteX476" fmla="*/ 4999337 w 6530564"/>
              <a:gd name="connsiteY476" fmla="*/ 4870189 h 6858000"/>
              <a:gd name="connsiteX477" fmla="*/ 6130068 w 6530564"/>
              <a:gd name="connsiteY477" fmla="*/ 4856695 h 6858000"/>
              <a:gd name="connsiteX478" fmla="*/ 6126199 w 6530564"/>
              <a:gd name="connsiteY478" fmla="*/ 4862407 h 6858000"/>
              <a:gd name="connsiteX479" fmla="*/ 6129873 w 6530564"/>
              <a:gd name="connsiteY479" fmla="*/ 4856736 h 6858000"/>
              <a:gd name="connsiteX480" fmla="*/ 5030417 w 6530564"/>
              <a:gd name="connsiteY480" fmla="*/ 4849127 h 6858000"/>
              <a:gd name="connsiteX481" fmla="*/ 5029817 w 6530564"/>
              <a:gd name="connsiteY481" fmla="*/ 4849140 h 6858000"/>
              <a:gd name="connsiteX482" fmla="*/ 5010221 w 6530564"/>
              <a:gd name="connsiteY482" fmla="*/ 4860487 h 6858000"/>
              <a:gd name="connsiteX483" fmla="*/ 5015974 w 6530564"/>
              <a:gd name="connsiteY483" fmla="*/ 4860584 h 6858000"/>
              <a:gd name="connsiteX484" fmla="*/ 5030417 w 6530564"/>
              <a:gd name="connsiteY484" fmla="*/ 4849127 h 6858000"/>
              <a:gd name="connsiteX485" fmla="*/ 5071263 w 6530564"/>
              <a:gd name="connsiteY485" fmla="*/ 4820079 h 6858000"/>
              <a:gd name="connsiteX486" fmla="*/ 5059909 w 6530564"/>
              <a:gd name="connsiteY486" fmla="*/ 4829301 h 6858000"/>
              <a:gd name="connsiteX487" fmla="*/ 5059325 w 6530564"/>
              <a:gd name="connsiteY487" fmla="*/ 4830010 h 6858000"/>
              <a:gd name="connsiteX488" fmla="*/ 5057793 w 6530564"/>
              <a:gd name="connsiteY488" fmla="*/ 4831019 h 6858000"/>
              <a:gd name="connsiteX489" fmla="*/ 5055235 w 6530564"/>
              <a:gd name="connsiteY489" fmla="*/ 4833097 h 6858000"/>
              <a:gd name="connsiteX490" fmla="*/ 5055445 w 6530564"/>
              <a:gd name="connsiteY490" fmla="*/ 4833420 h 6858000"/>
              <a:gd name="connsiteX491" fmla="*/ 5062605 w 6530564"/>
              <a:gd name="connsiteY491" fmla="*/ 4830888 h 6858000"/>
              <a:gd name="connsiteX492" fmla="*/ 5057377 w 6530564"/>
              <a:gd name="connsiteY492" fmla="*/ 4835640 h 6858000"/>
              <a:gd name="connsiteX493" fmla="*/ 5060755 w 6530564"/>
              <a:gd name="connsiteY493" fmla="*/ 4837402 h 6858000"/>
              <a:gd name="connsiteX494" fmla="*/ 5060961 w 6530564"/>
              <a:gd name="connsiteY494" fmla="*/ 4837260 h 6858000"/>
              <a:gd name="connsiteX495" fmla="*/ 5108837 w 6530564"/>
              <a:gd name="connsiteY495" fmla="*/ 4789562 h 6858000"/>
              <a:gd name="connsiteX496" fmla="*/ 5093745 w 6530564"/>
              <a:gd name="connsiteY496" fmla="*/ 4801819 h 6858000"/>
              <a:gd name="connsiteX497" fmla="*/ 5095236 w 6530564"/>
              <a:gd name="connsiteY497" fmla="*/ 4800959 h 6858000"/>
              <a:gd name="connsiteX498" fmla="*/ 5108593 w 6530564"/>
              <a:gd name="connsiteY498" fmla="*/ 4790474 h 6858000"/>
              <a:gd name="connsiteX499" fmla="*/ 5127188 w 6530564"/>
              <a:gd name="connsiteY499" fmla="*/ 4774656 h 6858000"/>
              <a:gd name="connsiteX500" fmla="*/ 5117361 w 6530564"/>
              <a:gd name="connsiteY500" fmla="*/ 4782639 h 6858000"/>
              <a:gd name="connsiteX501" fmla="*/ 5121949 w 6530564"/>
              <a:gd name="connsiteY501" fmla="*/ 4779991 h 6858000"/>
              <a:gd name="connsiteX502" fmla="*/ 5125229 w 6530564"/>
              <a:gd name="connsiteY502" fmla="*/ 4780869 h 6858000"/>
              <a:gd name="connsiteX503" fmla="*/ 5129389 w 6530564"/>
              <a:gd name="connsiteY503" fmla="*/ 4778468 h 6858000"/>
              <a:gd name="connsiteX504" fmla="*/ 2748506 w 6530564"/>
              <a:gd name="connsiteY504" fmla="*/ 4741714 h 6858000"/>
              <a:gd name="connsiteX505" fmla="*/ 2753001 w 6530564"/>
              <a:gd name="connsiteY505" fmla="*/ 4745754 h 6858000"/>
              <a:gd name="connsiteX506" fmla="*/ 2748356 w 6530564"/>
              <a:gd name="connsiteY506" fmla="*/ 4742283 h 6858000"/>
              <a:gd name="connsiteX507" fmla="*/ 2738573 w 6530564"/>
              <a:gd name="connsiteY507" fmla="*/ 4734114 h 6858000"/>
              <a:gd name="connsiteX508" fmla="*/ 2742497 w 6530564"/>
              <a:gd name="connsiteY508" fmla="*/ 4737906 h 6858000"/>
              <a:gd name="connsiteX509" fmla="*/ 2748356 w 6530564"/>
              <a:gd name="connsiteY509" fmla="*/ 4742283 h 6858000"/>
              <a:gd name="connsiteX510" fmla="*/ 2747627 w 6530564"/>
              <a:gd name="connsiteY510" fmla="*/ 4744994 h 6858000"/>
              <a:gd name="connsiteX511" fmla="*/ 2739545 w 6530564"/>
              <a:gd name="connsiteY511" fmla="*/ 4735796 h 6858000"/>
              <a:gd name="connsiteX512" fmla="*/ 2733528 w 6530564"/>
              <a:gd name="connsiteY512" fmla="*/ 4728433 h 6858000"/>
              <a:gd name="connsiteX513" fmla="*/ 2737143 w 6530564"/>
              <a:gd name="connsiteY513" fmla="*/ 4731638 h 6858000"/>
              <a:gd name="connsiteX514" fmla="*/ 2738573 w 6530564"/>
              <a:gd name="connsiteY514" fmla="*/ 4734114 h 6858000"/>
              <a:gd name="connsiteX515" fmla="*/ 2733769 w 6530564"/>
              <a:gd name="connsiteY515" fmla="*/ 4729470 h 6858000"/>
              <a:gd name="connsiteX516" fmla="*/ 2725781 w 6530564"/>
              <a:gd name="connsiteY516" fmla="*/ 4721561 h 6858000"/>
              <a:gd name="connsiteX517" fmla="*/ 2732341 w 6530564"/>
              <a:gd name="connsiteY517" fmla="*/ 4723320 h 6858000"/>
              <a:gd name="connsiteX518" fmla="*/ 2733528 w 6530564"/>
              <a:gd name="connsiteY518" fmla="*/ 4728433 h 6858000"/>
              <a:gd name="connsiteX519" fmla="*/ 2731462 w 6530564"/>
              <a:gd name="connsiteY519" fmla="*/ 4726600 h 6858000"/>
              <a:gd name="connsiteX520" fmla="*/ 2728183 w 6530564"/>
              <a:gd name="connsiteY520" fmla="*/ 4725721 h 6858000"/>
              <a:gd name="connsiteX521" fmla="*/ 2725781 w 6530564"/>
              <a:gd name="connsiteY521" fmla="*/ 4721561 h 6858000"/>
              <a:gd name="connsiteX522" fmla="*/ 3028405 w 6530564"/>
              <a:gd name="connsiteY522" fmla="*/ 4669808 h 6858000"/>
              <a:gd name="connsiteX523" fmla="*/ 3030752 w 6530564"/>
              <a:gd name="connsiteY523" fmla="*/ 4673522 h 6858000"/>
              <a:gd name="connsiteX524" fmla="*/ 3054617 w 6530564"/>
              <a:gd name="connsiteY524" fmla="*/ 4692835 h 6858000"/>
              <a:gd name="connsiteX525" fmla="*/ 3107225 w 6530564"/>
              <a:gd name="connsiteY525" fmla="*/ 4721282 h 6858000"/>
              <a:gd name="connsiteX526" fmla="*/ 3105246 w 6530564"/>
              <a:gd name="connsiteY526" fmla="*/ 4719661 h 6858000"/>
              <a:gd name="connsiteX527" fmla="*/ 3057715 w 6530564"/>
              <a:gd name="connsiteY527" fmla="*/ 4691376 h 6858000"/>
              <a:gd name="connsiteX528" fmla="*/ 6304463 w 6530564"/>
              <a:gd name="connsiteY528" fmla="*/ 4668027 h 6858000"/>
              <a:gd name="connsiteX529" fmla="*/ 6302855 w 6530564"/>
              <a:gd name="connsiteY529" fmla="*/ 4672815 h 6858000"/>
              <a:gd name="connsiteX530" fmla="*/ 6301832 w 6530564"/>
              <a:gd name="connsiteY530" fmla="*/ 4672862 h 6858000"/>
              <a:gd name="connsiteX531" fmla="*/ 6304463 w 6530564"/>
              <a:gd name="connsiteY531" fmla="*/ 4668027 h 6858000"/>
              <a:gd name="connsiteX532" fmla="*/ 2673360 w 6530564"/>
              <a:gd name="connsiteY532" fmla="*/ 4654778 h 6858000"/>
              <a:gd name="connsiteX533" fmla="*/ 2678648 w 6530564"/>
              <a:gd name="connsiteY533" fmla="*/ 4660537 h 6858000"/>
              <a:gd name="connsiteX534" fmla="*/ 2678411 w 6530564"/>
              <a:gd name="connsiteY534" fmla="*/ 4660527 h 6858000"/>
              <a:gd name="connsiteX535" fmla="*/ 2673360 w 6530564"/>
              <a:gd name="connsiteY535" fmla="*/ 4654778 h 6858000"/>
              <a:gd name="connsiteX536" fmla="*/ 2988071 w 6530564"/>
              <a:gd name="connsiteY536" fmla="*/ 4640127 h 6858000"/>
              <a:gd name="connsiteX537" fmla="*/ 2993758 w 6530564"/>
              <a:gd name="connsiteY537" fmla="*/ 4645670 h 6858000"/>
              <a:gd name="connsiteX538" fmla="*/ 3002041 w 6530564"/>
              <a:gd name="connsiteY538" fmla="*/ 4651387 h 6858000"/>
              <a:gd name="connsiteX539" fmla="*/ 3003476 w 6530564"/>
              <a:gd name="connsiteY539" fmla="*/ 4651462 h 6858000"/>
              <a:gd name="connsiteX540" fmla="*/ 2964415 w 6530564"/>
              <a:gd name="connsiteY540" fmla="*/ 4622718 h 6858000"/>
              <a:gd name="connsiteX541" fmla="*/ 2964410 w 6530564"/>
              <a:gd name="connsiteY541" fmla="*/ 4622737 h 6858000"/>
              <a:gd name="connsiteX542" fmla="*/ 2964457 w 6530564"/>
              <a:gd name="connsiteY542" fmla="*/ 4622750 h 6858000"/>
              <a:gd name="connsiteX543" fmla="*/ 2936215 w 6530564"/>
              <a:gd name="connsiteY543" fmla="*/ 4620923 h 6858000"/>
              <a:gd name="connsiteX544" fmla="*/ 2938890 w 6530564"/>
              <a:gd name="connsiteY544" fmla="*/ 4621639 h 6858000"/>
              <a:gd name="connsiteX545" fmla="*/ 2938711 w 6530564"/>
              <a:gd name="connsiteY545" fmla="*/ 4622308 h 6858000"/>
              <a:gd name="connsiteX546" fmla="*/ 2922025 w 6530564"/>
              <a:gd name="connsiteY546" fmla="*/ 4586750 h 6858000"/>
              <a:gd name="connsiteX547" fmla="*/ 2919078 w 6530564"/>
              <a:gd name="connsiteY547" fmla="*/ 4591214 h 6858000"/>
              <a:gd name="connsiteX548" fmla="*/ 2912519 w 6530564"/>
              <a:gd name="connsiteY548" fmla="*/ 4591609 h 6858000"/>
              <a:gd name="connsiteX549" fmla="*/ 2922311 w 6530564"/>
              <a:gd name="connsiteY549" fmla="*/ 4608585 h 6858000"/>
              <a:gd name="connsiteX550" fmla="*/ 2917677 w 6530564"/>
              <a:gd name="connsiteY550" fmla="*/ 4604474 h 6858000"/>
              <a:gd name="connsiteX551" fmla="*/ 2913043 w 6530564"/>
              <a:gd name="connsiteY551" fmla="*/ 4600361 h 6858000"/>
              <a:gd name="connsiteX552" fmla="*/ 2915001 w 6530564"/>
              <a:gd name="connsiteY552" fmla="*/ 4603756 h 6858000"/>
              <a:gd name="connsiteX553" fmla="*/ 2919635 w 6530564"/>
              <a:gd name="connsiteY553" fmla="*/ 4607868 h 6858000"/>
              <a:gd name="connsiteX554" fmla="*/ 2921593 w 6530564"/>
              <a:gd name="connsiteY554" fmla="*/ 4611263 h 6858000"/>
              <a:gd name="connsiteX555" fmla="*/ 2932821 w 6530564"/>
              <a:gd name="connsiteY555" fmla="*/ 4622883 h 6858000"/>
              <a:gd name="connsiteX556" fmla="*/ 2935497 w 6530564"/>
              <a:gd name="connsiteY556" fmla="*/ 4623599 h 6858000"/>
              <a:gd name="connsiteX557" fmla="*/ 2938172 w 6530564"/>
              <a:gd name="connsiteY557" fmla="*/ 4624317 h 6858000"/>
              <a:gd name="connsiteX558" fmla="*/ 2938711 w 6530564"/>
              <a:gd name="connsiteY558" fmla="*/ 4622308 h 6858000"/>
              <a:gd name="connsiteX559" fmla="*/ 2941207 w 6530564"/>
              <a:gd name="connsiteY559" fmla="*/ 4623695 h 6858000"/>
              <a:gd name="connsiteX560" fmla="*/ 2946201 w 6530564"/>
              <a:gd name="connsiteY560" fmla="*/ 4626469 h 6858000"/>
              <a:gd name="connsiteX561" fmla="*/ 2941761 w 6530564"/>
              <a:gd name="connsiteY561" fmla="*/ 4610927 h 6858000"/>
              <a:gd name="connsiteX562" fmla="*/ 2961733 w 6530564"/>
              <a:gd name="connsiteY562" fmla="*/ 4622018 h 6858000"/>
              <a:gd name="connsiteX563" fmla="*/ 2962703 w 6530564"/>
              <a:gd name="connsiteY563" fmla="*/ 4621458 h 6858000"/>
              <a:gd name="connsiteX564" fmla="*/ 2948426 w 6530564"/>
              <a:gd name="connsiteY564" fmla="*/ 4610952 h 6858000"/>
              <a:gd name="connsiteX565" fmla="*/ 2860394 w 6530564"/>
              <a:gd name="connsiteY565" fmla="*/ 4530255 h 6858000"/>
              <a:gd name="connsiteX566" fmla="*/ 2873925 w 6530564"/>
              <a:gd name="connsiteY566" fmla="*/ 4544310 h 6858000"/>
              <a:gd name="connsiteX567" fmla="*/ 2898368 w 6530564"/>
              <a:gd name="connsiteY567" fmla="*/ 4565066 h 6858000"/>
              <a:gd name="connsiteX568" fmla="*/ 2850179 w 6530564"/>
              <a:gd name="connsiteY568" fmla="*/ 4503144 h 6858000"/>
              <a:gd name="connsiteX569" fmla="*/ 2849725 w 6530564"/>
              <a:gd name="connsiteY569" fmla="*/ 4504837 h 6858000"/>
              <a:gd name="connsiteX570" fmla="*/ 2856363 w 6530564"/>
              <a:gd name="connsiteY570" fmla="*/ 4508236 h 6858000"/>
              <a:gd name="connsiteX571" fmla="*/ 2855786 w 6530564"/>
              <a:gd name="connsiteY571" fmla="*/ 4507515 h 6858000"/>
              <a:gd name="connsiteX572" fmla="*/ 2857490 w 6530564"/>
              <a:gd name="connsiteY572" fmla="*/ 4507973 h 6858000"/>
              <a:gd name="connsiteX573" fmla="*/ 2858176 w 6530564"/>
              <a:gd name="connsiteY573" fmla="*/ 4509163 h 6858000"/>
              <a:gd name="connsiteX574" fmla="*/ 2862899 w 6530564"/>
              <a:gd name="connsiteY574" fmla="*/ 4511580 h 6858000"/>
              <a:gd name="connsiteX575" fmla="*/ 2852855 w 6530564"/>
              <a:gd name="connsiteY575" fmla="*/ 4503860 h 6858000"/>
              <a:gd name="connsiteX576" fmla="*/ 2855786 w 6530564"/>
              <a:gd name="connsiteY576" fmla="*/ 4507515 h 6858000"/>
              <a:gd name="connsiteX577" fmla="*/ 2854813 w 6530564"/>
              <a:gd name="connsiteY577" fmla="*/ 4507255 h 6858000"/>
              <a:gd name="connsiteX578" fmla="*/ 2850179 w 6530564"/>
              <a:gd name="connsiteY578" fmla="*/ 4503144 h 6858000"/>
              <a:gd name="connsiteX579" fmla="*/ 5450741 w 6530564"/>
              <a:gd name="connsiteY579" fmla="*/ 4439964 h 6858000"/>
              <a:gd name="connsiteX580" fmla="*/ 5377825 w 6530564"/>
              <a:gd name="connsiteY580" fmla="*/ 4530592 h 6858000"/>
              <a:gd name="connsiteX581" fmla="*/ 5323869 w 6530564"/>
              <a:gd name="connsiteY581" fmla="*/ 4592582 h 6858000"/>
              <a:gd name="connsiteX582" fmla="*/ 5314677 w 6530564"/>
              <a:gd name="connsiteY582" fmla="*/ 4613036 h 6858000"/>
              <a:gd name="connsiteX583" fmla="*/ 5364167 w 6530564"/>
              <a:gd name="connsiteY583" fmla="*/ 4564878 h 6858000"/>
              <a:gd name="connsiteX584" fmla="*/ 5370795 w 6530564"/>
              <a:gd name="connsiteY584" fmla="*/ 4560109 h 6858000"/>
              <a:gd name="connsiteX585" fmla="*/ 5397869 w 6530564"/>
              <a:gd name="connsiteY585" fmla="*/ 4523430 h 6858000"/>
              <a:gd name="connsiteX586" fmla="*/ 1643525 w 6530564"/>
              <a:gd name="connsiteY586" fmla="*/ 4432993 h 6858000"/>
              <a:gd name="connsiteX587" fmla="*/ 1644522 w 6530564"/>
              <a:gd name="connsiteY587" fmla="*/ 4437664 h 6858000"/>
              <a:gd name="connsiteX588" fmla="*/ 1643326 w 6530564"/>
              <a:gd name="connsiteY588" fmla="*/ 4435630 h 6858000"/>
              <a:gd name="connsiteX589" fmla="*/ 2776939 w 6530564"/>
              <a:gd name="connsiteY589" fmla="*/ 4423240 h 6858000"/>
              <a:gd name="connsiteX590" fmla="*/ 2779311 w 6530564"/>
              <a:gd name="connsiteY590" fmla="*/ 4426396 h 6858000"/>
              <a:gd name="connsiteX591" fmla="*/ 2778899 w 6530564"/>
              <a:gd name="connsiteY591" fmla="*/ 4426634 h 6858000"/>
              <a:gd name="connsiteX592" fmla="*/ 2776939 w 6530564"/>
              <a:gd name="connsiteY592" fmla="*/ 4423240 h 6858000"/>
              <a:gd name="connsiteX593" fmla="*/ 2676789 w 6530564"/>
              <a:gd name="connsiteY593" fmla="*/ 4299837 h 6858000"/>
              <a:gd name="connsiteX594" fmla="*/ 2665036 w 6530564"/>
              <a:gd name="connsiteY594" fmla="*/ 4302598 h 6858000"/>
              <a:gd name="connsiteX595" fmla="*/ 2701549 w 6530564"/>
              <a:gd name="connsiteY595" fmla="*/ 4351370 h 6858000"/>
              <a:gd name="connsiteX596" fmla="*/ 2741629 w 6530564"/>
              <a:gd name="connsiteY596" fmla="*/ 4405167 h 6858000"/>
              <a:gd name="connsiteX597" fmla="*/ 2786537 w 6530564"/>
              <a:gd name="connsiteY597" fmla="*/ 4451645 h 6858000"/>
              <a:gd name="connsiteX598" fmla="*/ 2822178 w 6530564"/>
              <a:gd name="connsiteY598" fmla="*/ 4489900 h 6858000"/>
              <a:gd name="connsiteX599" fmla="*/ 2824137 w 6530564"/>
              <a:gd name="connsiteY599" fmla="*/ 4493294 h 6858000"/>
              <a:gd name="connsiteX600" fmla="*/ 2828771 w 6530564"/>
              <a:gd name="connsiteY600" fmla="*/ 4497407 h 6858000"/>
              <a:gd name="connsiteX601" fmla="*/ 2839192 w 6530564"/>
              <a:gd name="connsiteY601" fmla="*/ 4508233 h 6858000"/>
              <a:gd name="connsiteX602" fmla="*/ 2837891 w 6530564"/>
              <a:gd name="connsiteY602" fmla="*/ 4500449 h 6858000"/>
              <a:gd name="connsiteX603" fmla="*/ 2829489 w 6530564"/>
              <a:gd name="connsiteY603" fmla="*/ 4494729 h 6858000"/>
              <a:gd name="connsiteX604" fmla="*/ 2832164 w 6530564"/>
              <a:gd name="connsiteY604" fmla="*/ 4495445 h 6858000"/>
              <a:gd name="connsiteX605" fmla="*/ 2827529 w 6530564"/>
              <a:gd name="connsiteY605" fmla="*/ 4491333 h 6858000"/>
              <a:gd name="connsiteX606" fmla="*/ 2825572 w 6530564"/>
              <a:gd name="connsiteY606" fmla="*/ 4487938 h 6858000"/>
              <a:gd name="connsiteX607" fmla="*/ 2779311 w 6530564"/>
              <a:gd name="connsiteY607" fmla="*/ 4426396 h 6858000"/>
              <a:gd name="connsiteX608" fmla="*/ 2782293 w 6530564"/>
              <a:gd name="connsiteY608" fmla="*/ 4424673 h 6858000"/>
              <a:gd name="connsiteX609" fmla="*/ 2779616 w 6530564"/>
              <a:gd name="connsiteY609" fmla="*/ 4423956 h 6858000"/>
              <a:gd name="connsiteX610" fmla="*/ 2776939 w 6530564"/>
              <a:gd name="connsiteY610" fmla="*/ 4423240 h 6858000"/>
              <a:gd name="connsiteX611" fmla="*/ 2774981 w 6530564"/>
              <a:gd name="connsiteY611" fmla="*/ 4419843 h 6858000"/>
              <a:gd name="connsiteX612" fmla="*/ 2765190 w 6530564"/>
              <a:gd name="connsiteY612" fmla="*/ 4402868 h 6858000"/>
              <a:gd name="connsiteX613" fmla="*/ 2766430 w 6530564"/>
              <a:gd name="connsiteY613" fmla="*/ 4408940 h 6858000"/>
              <a:gd name="connsiteX614" fmla="*/ 2763755 w 6530564"/>
              <a:gd name="connsiteY614" fmla="*/ 4408224 h 6858000"/>
              <a:gd name="connsiteX615" fmla="*/ 2761078 w 6530564"/>
              <a:gd name="connsiteY615" fmla="*/ 4407507 h 6858000"/>
              <a:gd name="connsiteX616" fmla="*/ 2763037 w 6530564"/>
              <a:gd name="connsiteY616" fmla="*/ 4410902 h 6858000"/>
              <a:gd name="connsiteX617" fmla="*/ 2747175 w 6530564"/>
              <a:gd name="connsiteY617" fmla="*/ 4395170 h 6858000"/>
              <a:gd name="connsiteX618" fmla="*/ 2749852 w 6530564"/>
              <a:gd name="connsiteY618" fmla="*/ 4395886 h 6858000"/>
              <a:gd name="connsiteX619" fmla="*/ 2751809 w 6530564"/>
              <a:gd name="connsiteY619" fmla="*/ 4399282 h 6858000"/>
              <a:gd name="connsiteX620" fmla="*/ 2754485 w 6530564"/>
              <a:gd name="connsiteY620" fmla="*/ 4399999 h 6858000"/>
              <a:gd name="connsiteX621" fmla="*/ 2750569 w 6530564"/>
              <a:gd name="connsiteY621" fmla="*/ 4393208 h 6858000"/>
              <a:gd name="connsiteX622" fmla="*/ 2748611 w 6530564"/>
              <a:gd name="connsiteY622" fmla="*/ 4389814 h 6858000"/>
              <a:gd name="connsiteX623" fmla="*/ 2736338 w 6530564"/>
              <a:gd name="connsiteY623" fmla="*/ 4360691 h 6858000"/>
              <a:gd name="connsiteX624" fmla="*/ 2722327 w 6530564"/>
              <a:gd name="connsiteY624" fmla="*/ 4344738 h 6858000"/>
              <a:gd name="connsiteX625" fmla="*/ 2716857 w 6530564"/>
              <a:gd name="connsiteY625" fmla="*/ 4339970 h 6858000"/>
              <a:gd name="connsiteX626" fmla="*/ 2703428 w 6530564"/>
              <a:gd name="connsiteY626" fmla="*/ 4336022 h 6858000"/>
              <a:gd name="connsiteX627" fmla="*/ 2688247 w 6530564"/>
              <a:gd name="connsiteY627" fmla="*/ 4319673 h 6858000"/>
              <a:gd name="connsiteX628" fmla="*/ 2677451 w 6530564"/>
              <a:gd name="connsiteY628" fmla="*/ 4300826 h 6858000"/>
              <a:gd name="connsiteX629" fmla="*/ 2337159 w 6530564"/>
              <a:gd name="connsiteY629" fmla="*/ 4269366 h 6858000"/>
              <a:gd name="connsiteX630" fmla="*/ 2339560 w 6530564"/>
              <a:gd name="connsiteY630" fmla="*/ 4273526 h 6858000"/>
              <a:gd name="connsiteX631" fmla="*/ 2339523 w 6530564"/>
              <a:gd name="connsiteY631" fmla="*/ 4273662 h 6858000"/>
              <a:gd name="connsiteX632" fmla="*/ 1526874 w 6530564"/>
              <a:gd name="connsiteY632" fmla="*/ 4252779 h 6858000"/>
              <a:gd name="connsiteX633" fmla="*/ 1534539 w 6530564"/>
              <a:gd name="connsiteY633" fmla="*/ 4265793 h 6858000"/>
              <a:gd name="connsiteX634" fmla="*/ 1529869 w 6530564"/>
              <a:gd name="connsiteY634" fmla="*/ 4266791 h 6858000"/>
              <a:gd name="connsiteX635" fmla="*/ 2351864 w 6530564"/>
              <a:gd name="connsiteY635" fmla="*/ 4227601 h 6858000"/>
              <a:gd name="connsiteX636" fmla="*/ 2354365 w 6530564"/>
              <a:gd name="connsiteY636" fmla="*/ 4231786 h 6858000"/>
              <a:gd name="connsiteX637" fmla="*/ 2354267 w 6530564"/>
              <a:gd name="connsiteY637" fmla="*/ 4231761 h 6858000"/>
              <a:gd name="connsiteX638" fmla="*/ 2351864 w 6530564"/>
              <a:gd name="connsiteY638" fmla="*/ 4227601 h 6858000"/>
              <a:gd name="connsiteX639" fmla="*/ 6397652 w 6530564"/>
              <a:gd name="connsiteY639" fmla="*/ 4184394 h 6858000"/>
              <a:gd name="connsiteX640" fmla="*/ 6397793 w 6530564"/>
              <a:gd name="connsiteY640" fmla="*/ 4184698 h 6858000"/>
              <a:gd name="connsiteX641" fmla="*/ 6393825 w 6530564"/>
              <a:gd name="connsiteY641" fmla="*/ 4194703 h 6858000"/>
              <a:gd name="connsiteX642" fmla="*/ 6495950 w 6530564"/>
              <a:gd name="connsiteY642" fmla="*/ 4124042 h 6858000"/>
              <a:gd name="connsiteX643" fmla="*/ 6492277 w 6530564"/>
              <a:gd name="connsiteY643" fmla="*/ 4129712 h 6858000"/>
              <a:gd name="connsiteX644" fmla="*/ 6495950 w 6530564"/>
              <a:gd name="connsiteY644" fmla="*/ 4124042 h 6858000"/>
              <a:gd name="connsiteX645" fmla="*/ 6447581 w 6530564"/>
              <a:gd name="connsiteY645" fmla="*/ 4072213 h 6858000"/>
              <a:gd name="connsiteX646" fmla="*/ 6446607 w 6530564"/>
              <a:gd name="connsiteY646" fmla="*/ 4075973 h 6858000"/>
              <a:gd name="connsiteX647" fmla="*/ 6447605 w 6530564"/>
              <a:gd name="connsiteY647" fmla="*/ 4080645 h 6858000"/>
              <a:gd name="connsiteX648" fmla="*/ 6443932 w 6530564"/>
              <a:gd name="connsiteY648" fmla="*/ 4086313 h 6858000"/>
              <a:gd name="connsiteX649" fmla="*/ 6441935 w 6530564"/>
              <a:gd name="connsiteY649" fmla="*/ 4076971 h 6858000"/>
              <a:gd name="connsiteX650" fmla="*/ 6451467 w 6530564"/>
              <a:gd name="connsiteY650" fmla="*/ 4062259 h 6858000"/>
              <a:gd name="connsiteX651" fmla="*/ 6448725 w 6530564"/>
              <a:gd name="connsiteY651" fmla="*/ 4071248 h 6858000"/>
              <a:gd name="connsiteX652" fmla="*/ 6447581 w 6530564"/>
              <a:gd name="connsiteY652" fmla="*/ 4072213 h 6858000"/>
              <a:gd name="connsiteX653" fmla="*/ 6449283 w 6530564"/>
              <a:gd name="connsiteY653" fmla="*/ 4065635 h 6858000"/>
              <a:gd name="connsiteX654" fmla="*/ 6095133 w 6530564"/>
              <a:gd name="connsiteY654" fmla="*/ 4053382 h 6858000"/>
              <a:gd name="connsiteX655" fmla="*/ 6093665 w 6530564"/>
              <a:gd name="connsiteY655" fmla="*/ 4058179 h 6858000"/>
              <a:gd name="connsiteX656" fmla="*/ 6092651 w 6530564"/>
              <a:gd name="connsiteY656" fmla="*/ 4060432 h 6858000"/>
              <a:gd name="connsiteX657" fmla="*/ 6092133 w 6530564"/>
              <a:gd name="connsiteY657" fmla="*/ 4058007 h 6858000"/>
              <a:gd name="connsiteX658" fmla="*/ 6095133 w 6530564"/>
              <a:gd name="connsiteY658" fmla="*/ 4053382 h 6858000"/>
              <a:gd name="connsiteX659" fmla="*/ 1243863 w 6530564"/>
              <a:gd name="connsiteY659" fmla="*/ 4048308 h 6858000"/>
              <a:gd name="connsiteX660" fmla="*/ 1243853 w 6530564"/>
              <a:gd name="connsiteY660" fmla="*/ 4048690 h 6858000"/>
              <a:gd name="connsiteX661" fmla="*/ 1244017 w 6530564"/>
              <a:gd name="connsiteY661" fmla="*/ 4049024 h 6858000"/>
              <a:gd name="connsiteX662" fmla="*/ 6459303 w 6530564"/>
              <a:gd name="connsiteY662" fmla="*/ 4043956 h 6858000"/>
              <a:gd name="connsiteX663" fmla="*/ 6452955 w 6530564"/>
              <a:gd name="connsiteY663" fmla="*/ 4059966 h 6858000"/>
              <a:gd name="connsiteX664" fmla="*/ 6451467 w 6530564"/>
              <a:gd name="connsiteY664" fmla="*/ 4062259 h 6858000"/>
              <a:gd name="connsiteX665" fmla="*/ 6453708 w 6530564"/>
              <a:gd name="connsiteY665" fmla="*/ 4054920 h 6858000"/>
              <a:gd name="connsiteX666" fmla="*/ 6455441 w 6530564"/>
              <a:gd name="connsiteY666" fmla="*/ 4044781 h 6858000"/>
              <a:gd name="connsiteX667" fmla="*/ 6456817 w 6530564"/>
              <a:gd name="connsiteY667" fmla="*/ 4036740 h 6858000"/>
              <a:gd name="connsiteX668" fmla="*/ 6455441 w 6530564"/>
              <a:gd name="connsiteY668" fmla="*/ 4044781 h 6858000"/>
              <a:gd name="connsiteX669" fmla="*/ 6454631 w 6530564"/>
              <a:gd name="connsiteY669" fmla="*/ 4044953 h 6858000"/>
              <a:gd name="connsiteX670" fmla="*/ 1431945 w 6530564"/>
              <a:gd name="connsiteY670" fmla="*/ 4014196 h 6858000"/>
              <a:gd name="connsiteX671" fmla="*/ 1434938 w 6530564"/>
              <a:gd name="connsiteY671" fmla="*/ 4028209 h 6858000"/>
              <a:gd name="connsiteX672" fmla="*/ 1428273 w 6530564"/>
              <a:gd name="connsiteY672" fmla="*/ 4019865 h 6858000"/>
              <a:gd name="connsiteX673" fmla="*/ 1431945 w 6530564"/>
              <a:gd name="connsiteY673" fmla="*/ 4014196 h 6858000"/>
              <a:gd name="connsiteX674" fmla="*/ 1496703 w 6530564"/>
              <a:gd name="connsiteY674" fmla="*/ 3951518 h 6858000"/>
              <a:gd name="connsiteX675" fmla="*/ 1502371 w 6530564"/>
              <a:gd name="connsiteY675" fmla="*/ 3955191 h 6858000"/>
              <a:gd name="connsiteX676" fmla="*/ 1498697 w 6530564"/>
              <a:gd name="connsiteY676" fmla="*/ 3960861 h 6858000"/>
              <a:gd name="connsiteX677" fmla="*/ 1496703 w 6530564"/>
              <a:gd name="connsiteY677" fmla="*/ 3951518 h 6858000"/>
              <a:gd name="connsiteX678" fmla="*/ 2081274 w 6530564"/>
              <a:gd name="connsiteY678" fmla="*/ 3919538 h 6858000"/>
              <a:gd name="connsiteX679" fmla="*/ 2082728 w 6530564"/>
              <a:gd name="connsiteY679" fmla="*/ 3919927 h 6858000"/>
              <a:gd name="connsiteX680" fmla="*/ 2081850 w 6530564"/>
              <a:gd name="connsiteY680" fmla="*/ 3923208 h 6858000"/>
              <a:gd name="connsiteX681" fmla="*/ 6530564 w 6530564"/>
              <a:gd name="connsiteY681" fmla="*/ 3917715 h 6858000"/>
              <a:gd name="connsiteX682" fmla="*/ 6530564 w 6530564"/>
              <a:gd name="connsiteY682" fmla="*/ 3921552 h 6858000"/>
              <a:gd name="connsiteX683" fmla="*/ 6527556 w 6530564"/>
              <a:gd name="connsiteY683" fmla="*/ 3926194 h 6858000"/>
              <a:gd name="connsiteX684" fmla="*/ 6527097 w 6530564"/>
              <a:gd name="connsiteY684" fmla="*/ 3926903 h 6858000"/>
              <a:gd name="connsiteX685" fmla="*/ 6183373 w 6530564"/>
              <a:gd name="connsiteY685" fmla="*/ 3883119 h 6858000"/>
              <a:gd name="connsiteX686" fmla="*/ 6183235 w 6530564"/>
              <a:gd name="connsiteY686" fmla="*/ 3887133 h 6858000"/>
              <a:gd name="connsiteX687" fmla="*/ 6182420 w 6530564"/>
              <a:gd name="connsiteY687" fmla="*/ 3883322 h 6858000"/>
              <a:gd name="connsiteX688" fmla="*/ 6530394 w 6530564"/>
              <a:gd name="connsiteY688" fmla="*/ 3785167 h 6858000"/>
              <a:gd name="connsiteX689" fmla="*/ 6530564 w 6530564"/>
              <a:gd name="connsiteY689" fmla="*/ 3785630 h 6858000"/>
              <a:gd name="connsiteX690" fmla="*/ 6530564 w 6530564"/>
              <a:gd name="connsiteY690" fmla="*/ 3792682 h 6858000"/>
              <a:gd name="connsiteX691" fmla="*/ 6526181 w 6530564"/>
              <a:gd name="connsiteY691" fmla="*/ 3785456 h 6858000"/>
              <a:gd name="connsiteX692" fmla="*/ 6530394 w 6530564"/>
              <a:gd name="connsiteY692" fmla="*/ 3785167 h 6858000"/>
              <a:gd name="connsiteX693" fmla="*/ 2531063 w 6530564"/>
              <a:gd name="connsiteY693" fmla="*/ 3675825 h 6858000"/>
              <a:gd name="connsiteX694" fmla="*/ 2572765 w 6530564"/>
              <a:gd name="connsiteY694" fmla="*/ 3812143 h 6858000"/>
              <a:gd name="connsiteX695" fmla="*/ 2619585 w 6530564"/>
              <a:gd name="connsiteY695" fmla="*/ 3940039 h 6858000"/>
              <a:gd name="connsiteX696" fmla="*/ 2689216 w 6530564"/>
              <a:gd name="connsiteY696" fmla="*/ 4071055 h 6858000"/>
              <a:gd name="connsiteX697" fmla="*/ 2731894 w 6530564"/>
              <a:gd name="connsiteY697" fmla="*/ 4145620 h 6858000"/>
              <a:gd name="connsiteX698" fmla="*/ 2736797 w 6530564"/>
              <a:gd name="connsiteY698" fmla="*/ 4151516 h 6858000"/>
              <a:gd name="connsiteX699" fmla="*/ 2736150 w 6530564"/>
              <a:gd name="connsiteY699" fmla="*/ 4154286 h 6858000"/>
              <a:gd name="connsiteX700" fmla="*/ 2761162 w 6530564"/>
              <a:gd name="connsiteY700" fmla="*/ 4192307 h 6858000"/>
              <a:gd name="connsiteX701" fmla="*/ 2734027 w 6530564"/>
              <a:gd name="connsiteY701" fmla="*/ 4159027 h 6858000"/>
              <a:gd name="connsiteX702" fmla="*/ 2727501 w 6530564"/>
              <a:gd name="connsiteY702" fmla="*/ 4162023 h 6858000"/>
              <a:gd name="connsiteX703" fmla="*/ 2719561 w 6530564"/>
              <a:gd name="connsiteY703" fmla="*/ 4158874 h 6858000"/>
              <a:gd name="connsiteX704" fmla="*/ 2694323 w 6530564"/>
              <a:gd name="connsiteY704" fmla="*/ 4128398 h 6858000"/>
              <a:gd name="connsiteX705" fmla="*/ 2638432 w 6530564"/>
              <a:gd name="connsiteY705" fmla="*/ 4030019 h 6858000"/>
              <a:gd name="connsiteX706" fmla="*/ 2616715 w 6530564"/>
              <a:gd name="connsiteY706" fmla="*/ 3986397 h 6858000"/>
              <a:gd name="connsiteX707" fmla="*/ 2616051 w 6530564"/>
              <a:gd name="connsiteY707" fmla="*/ 3985283 h 6858000"/>
              <a:gd name="connsiteX708" fmla="*/ 2614788 w 6530564"/>
              <a:gd name="connsiteY708" fmla="*/ 3982527 h 6858000"/>
              <a:gd name="connsiteX709" fmla="*/ 2613003 w 6530564"/>
              <a:gd name="connsiteY709" fmla="*/ 3978941 h 6858000"/>
              <a:gd name="connsiteX710" fmla="*/ 2612430 w 6530564"/>
              <a:gd name="connsiteY710" fmla="*/ 3977382 h 6858000"/>
              <a:gd name="connsiteX711" fmla="*/ 2590101 w 6530564"/>
              <a:gd name="connsiteY711" fmla="*/ 3928646 h 6858000"/>
              <a:gd name="connsiteX712" fmla="*/ 2588278 w 6530564"/>
              <a:gd name="connsiteY712" fmla="*/ 3930926 h 6858000"/>
              <a:gd name="connsiteX713" fmla="*/ 2586807 w 6530564"/>
              <a:gd name="connsiteY713" fmla="*/ 3937922 h 6858000"/>
              <a:gd name="connsiteX714" fmla="*/ 2585985 w 6530564"/>
              <a:gd name="connsiteY714" fmla="*/ 3941174 h 6858000"/>
              <a:gd name="connsiteX715" fmla="*/ 2612386 w 6530564"/>
              <a:gd name="connsiteY715" fmla="*/ 4010360 h 6858000"/>
              <a:gd name="connsiteX716" fmla="*/ 2690871 w 6530564"/>
              <a:gd name="connsiteY716" fmla="*/ 4160213 h 6858000"/>
              <a:gd name="connsiteX717" fmla="*/ 2700625 w 6530564"/>
              <a:gd name="connsiteY717" fmla="*/ 4177201 h 6858000"/>
              <a:gd name="connsiteX718" fmla="*/ 2708709 w 6530564"/>
              <a:gd name="connsiteY718" fmla="*/ 4189725 h 6858000"/>
              <a:gd name="connsiteX719" fmla="*/ 2709242 w 6530564"/>
              <a:gd name="connsiteY719" fmla="*/ 4192597 h 6858000"/>
              <a:gd name="connsiteX720" fmla="*/ 2818914 w 6530564"/>
              <a:gd name="connsiteY720" fmla="*/ 4346218 h 6858000"/>
              <a:gd name="connsiteX721" fmla="*/ 2958211 w 6530564"/>
              <a:gd name="connsiteY721" fmla="*/ 4492927 h 6858000"/>
              <a:gd name="connsiteX722" fmla="*/ 3037117 w 6530564"/>
              <a:gd name="connsiteY722" fmla="*/ 4556144 h 6858000"/>
              <a:gd name="connsiteX723" fmla="*/ 3127435 w 6530564"/>
              <a:gd name="connsiteY723" fmla="*/ 4612403 h 6858000"/>
              <a:gd name="connsiteX724" fmla="*/ 3228660 w 6530564"/>
              <a:gd name="connsiteY724" fmla="*/ 4665324 h 6858000"/>
              <a:gd name="connsiteX725" fmla="*/ 3284085 w 6530564"/>
              <a:gd name="connsiteY725" fmla="*/ 4680023 h 6858000"/>
              <a:gd name="connsiteX726" fmla="*/ 3324987 w 6530564"/>
              <a:gd name="connsiteY726" fmla="*/ 4690843 h 6858000"/>
              <a:gd name="connsiteX727" fmla="*/ 3540971 w 6530564"/>
              <a:gd name="connsiteY727" fmla="*/ 4768253 h 6858000"/>
              <a:gd name="connsiteX728" fmla="*/ 3555898 w 6530564"/>
              <a:gd name="connsiteY728" fmla="*/ 4767020 h 6858000"/>
              <a:gd name="connsiteX729" fmla="*/ 3541374 w 6530564"/>
              <a:gd name="connsiteY729" fmla="*/ 4755574 h 6858000"/>
              <a:gd name="connsiteX730" fmla="*/ 3218006 w 6530564"/>
              <a:gd name="connsiteY730" fmla="*/ 4624223 h 6858000"/>
              <a:gd name="connsiteX731" fmla="*/ 3205733 w 6530564"/>
              <a:gd name="connsiteY731" fmla="*/ 4618706 h 6858000"/>
              <a:gd name="connsiteX732" fmla="*/ 3202251 w 6530564"/>
              <a:gd name="connsiteY732" fmla="*/ 4605416 h 6858000"/>
              <a:gd name="connsiteX733" fmla="*/ 3215747 w 6530564"/>
              <a:gd name="connsiteY733" fmla="*/ 4603161 h 6858000"/>
              <a:gd name="connsiteX734" fmla="*/ 3277149 w 6530564"/>
              <a:gd name="connsiteY734" fmla="*/ 4635346 h 6858000"/>
              <a:gd name="connsiteX735" fmla="*/ 3300817 w 6530564"/>
              <a:gd name="connsiteY735" fmla="*/ 4645474 h 6858000"/>
              <a:gd name="connsiteX736" fmla="*/ 3203581 w 6530564"/>
              <a:gd name="connsiteY736" fmla="*/ 4589043 h 6858000"/>
              <a:gd name="connsiteX737" fmla="*/ 2817218 w 6530564"/>
              <a:gd name="connsiteY737" fmla="*/ 4214123 h 6858000"/>
              <a:gd name="connsiteX738" fmla="*/ 2795524 w 6530564"/>
              <a:gd name="connsiteY738" fmla="*/ 4180373 h 6858000"/>
              <a:gd name="connsiteX739" fmla="*/ 2794029 w 6530564"/>
              <a:gd name="connsiteY739" fmla="*/ 4178497 h 6858000"/>
              <a:gd name="connsiteX740" fmla="*/ 2777085 w 6530564"/>
              <a:gd name="connsiteY740" fmla="*/ 4161569 h 6858000"/>
              <a:gd name="connsiteX741" fmla="*/ 2741001 w 6530564"/>
              <a:gd name="connsiteY741" fmla="*/ 4101332 h 6858000"/>
              <a:gd name="connsiteX742" fmla="*/ 2679864 w 6530564"/>
              <a:gd name="connsiteY742" fmla="*/ 4007725 h 6858000"/>
              <a:gd name="connsiteX743" fmla="*/ 2531063 w 6530564"/>
              <a:gd name="connsiteY743" fmla="*/ 3675825 h 6858000"/>
              <a:gd name="connsiteX744" fmla="*/ 1469523 w 6530564"/>
              <a:gd name="connsiteY744" fmla="*/ 3664273 h 6858000"/>
              <a:gd name="connsiteX745" fmla="*/ 1470520 w 6530564"/>
              <a:gd name="connsiteY745" fmla="*/ 3668943 h 6858000"/>
              <a:gd name="connsiteX746" fmla="*/ 1464851 w 6530564"/>
              <a:gd name="connsiteY746" fmla="*/ 3665270 h 6858000"/>
              <a:gd name="connsiteX747" fmla="*/ 1469523 w 6530564"/>
              <a:gd name="connsiteY747" fmla="*/ 3664273 h 6858000"/>
              <a:gd name="connsiteX748" fmla="*/ 1961674 w 6530564"/>
              <a:gd name="connsiteY748" fmla="*/ 3623805 h 6858000"/>
              <a:gd name="connsiteX749" fmla="*/ 1961195 w 6530564"/>
              <a:gd name="connsiteY749" fmla="*/ 3627779 h 6858000"/>
              <a:gd name="connsiteX750" fmla="*/ 1960794 w 6530564"/>
              <a:gd name="connsiteY750" fmla="*/ 3627086 h 6858000"/>
              <a:gd name="connsiteX751" fmla="*/ 1961674 w 6530564"/>
              <a:gd name="connsiteY751" fmla="*/ 3623805 h 6858000"/>
              <a:gd name="connsiteX752" fmla="*/ 6199520 w 6530564"/>
              <a:gd name="connsiteY752" fmla="*/ 3608723 h 6858000"/>
              <a:gd name="connsiteX753" fmla="*/ 6184735 w 6530564"/>
              <a:gd name="connsiteY753" fmla="*/ 3707510 h 6858000"/>
              <a:gd name="connsiteX754" fmla="*/ 6163438 w 6530564"/>
              <a:gd name="connsiteY754" fmla="*/ 3775812 h 6858000"/>
              <a:gd name="connsiteX755" fmla="*/ 6164252 w 6530564"/>
              <a:gd name="connsiteY755" fmla="*/ 3779623 h 6858000"/>
              <a:gd name="connsiteX756" fmla="*/ 6161253 w 6530564"/>
              <a:gd name="connsiteY756" fmla="*/ 3784247 h 6858000"/>
              <a:gd name="connsiteX757" fmla="*/ 6165881 w 6530564"/>
              <a:gd name="connsiteY757" fmla="*/ 3787245 h 6858000"/>
              <a:gd name="connsiteX758" fmla="*/ 6168881 w 6530564"/>
              <a:gd name="connsiteY758" fmla="*/ 3782617 h 6858000"/>
              <a:gd name="connsiteX759" fmla="*/ 6144582 w 6530564"/>
              <a:gd name="connsiteY759" fmla="*/ 3855546 h 6858000"/>
              <a:gd name="connsiteX760" fmla="*/ 6142399 w 6530564"/>
              <a:gd name="connsiteY760" fmla="*/ 3863981 h 6858000"/>
              <a:gd name="connsiteX761" fmla="*/ 6139398 w 6530564"/>
              <a:gd name="connsiteY761" fmla="*/ 3868606 h 6858000"/>
              <a:gd name="connsiteX762" fmla="*/ 6144841 w 6530564"/>
              <a:gd name="connsiteY762" fmla="*/ 3875415 h 6858000"/>
              <a:gd name="connsiteX763" fmla="*/ 6133657 w 6530564"/>
              <a:gd name="connsiteY763" fmla="*/ 3897726 h 6858000"/>
              <a:gd name="connsiteX764" fmla="*/ 6089949 w 6530564"/>
              <a:gd name="connsiteY764" fmla="*/ 4066444 h 6858000"/>
              <a:gd name="connsiteX765" fmla="*/ 6092651 w 6530564"/>
              <a:gd name="connsiteY765" fmla="*/ 4060432 h 6858000"/>
              <a:gd name="connsiteX766" fmla="*/ 6092947 w 6530564"/>
              <a:gd name="connsiteY766" fmla="*/ 4061819 h 6858000"/>
              <a:gd name="connsiteX767" fmla="*/ 6090763 w 6530564"/>
              <a:gd name="connsiteY767" fmla="*/ 4070255 h 6858000"/>
              <a:gd name="connsiteX768" fmla="*/ 6094575 w 6530564"/>
              <a:gd name="connsiteY768" fmla="*/ 4069439 h 6858000"/>
              <a:gd name="connsiteX769" fmla="*/ 6096761 w 6530564"/>
              <a:gd name="connsiteY769" fmla="*/ 4061003 h 6858000"/>
              <a:gd name="connsiteX770" fmla="*/ 6093461 w 6530564"/>
              <a:gd name="connsiteY770" fmla="*/ 4101553 h 6858000"/>
              <a:gd name="connsiteX771" fmla="*/ 6092647 w 6530564"/>
              <a:gd name="connsiteY771" fmla="*/ 4097743 h 6858000"/>
              <a:gd name="connsiteX772" fmla="*/ 6090461 w 6530564"/>
              <a:gd name="connsiteY772" fmla="*/ 4106179 h 6858000"/>
              <a:gd name="connsiteX773" fmla="*/ 6087462 w 6530564"/>
              <a:gd name="connsiteY773" fmla="*/ 4110804 h 6858000"/>
              <a:gd name="connsiteX774" fmla="*/ 6037541 w 6530564"/>
              <a:gd name="connsiteY774" fmla="*/ 4213114 h 6858000"/>
              <a:gd name="connsiteX775" fmla="*/ 6040540 w 6530564"/>
              <a:gd name="connsiteY775" fmla="*/ 4208487 h 6858000"/>
              <a:gd name="connsiteX776" fmla="*/ 6035913 w 6530564"/>
              <a:gd name="connsiteY776" fmla="*/ 4205492 h 6858000"/>
              <a:gd name="connsiteX777" fmla="*/ 6036727 w 6530564"/>
              <a:gd name="connsiteY777" fmla="*/ 4209302 h 6858000"/>
              <a:gd name="connsiteX778" fmla="*/ 6037541 w 6530564"/>
              <a:gd name="connsiteY778" fmla="*/ 4213114 h 6858000"/>
              <a:gd name="connsiteX779" fmla="*/ 6034541 w 6530564"/>
              <a:gd name="connsiteY779" fmla="*/ 4217738 h 6858000"/>
              <a:gd name="connsiteX780" fmla="*/ 6019543 w 6530564"/>
              <a:gd name="connsiteY780" fmla="*/ 4240865 h 6858000"/>
              <a:gd name="connsiteX781" fmla="*/ 6026355 w 6530564"/>
              <a:gd name="connsiteY781" fmla="*/ 4235425 h 6858000"/>
              <a:gd name="connsiteX782" fmla="*/ 6027169 w 6530564"/>
              <a:gd name="connsiteY782" fmla="*/ 4239235 h 6858000"/>
              <a:gd name="connsiteX783" fmla="*/ 6027984 w 6530564"/>
              <a:gd name="connsiteY783" fmla="*/ 4243047 h 6858000"/>
              <a:gd name="connsiteX784" fmla="*/ 6030985 w 6530564"/>
              <a:gd name="connsiteY784" fmla="*/ 4238420 h 6858000"/>
              <a:gd name="connsiteX785" fmla="*/ 6021427 w 6530564"/>
              <a:gd name="connsiteY785" fmla="*/ 4268354 h 6858000"/>
              <a:gd name="connsiteX786" fmla="*/ 6020613 w 6530564"/>
              <a:gd name="connsiteY786" fmla="*/ 4264544 h 6858000"/>
              <a:gd name="connsiteX787" fmla="*/ 6023613 w 6530564"/>
              <a:gd name="connsiteY787" fmla="*/ 4259918 h 6858000"/>
              <a:gd name="connsiteX788" fmla="*/ 6022799 w 6530564"/>
              <a:gd name="connsiteY788" fmla="*/ 4256108 h 6858000"/>
              <a:gd name="connsiteX789" fmla="*/ 6016800 w 6530564"/>
              <a:gd name="connsiteY789" fmla="*/ 4265358 h 6858000"/>
              <a:gd name="connsiteX790" fmla="*/ 6013801 w 6530564"/>
              <a:gd name="connsiteY790" fmla="*/ 4269984 h 6858000"/>
              <a:gd name="connsiteX791" fmla="*/ 5985177 w 6530564"/>
              <a:gd name="connsiteY791" fmla="*/ 4303990 h 6858000"/>
              <a:gd name="connsiteX792" fmla="*/ 5968249 w 6530564"/>
              <a:gd name="connsiteY792" fmla="*/ 4355422 h 6858000"/>
              <a:gd name="connsiteX793" fmla="*/ 5964437 w 6530564"/>
              <a:gd name="connsiteY793" fmla="*/ 4356236 h 6858000"/>
              <a:gd name="connsiteX794" fmla="*/ 5962251 w 6530564"/>
              <a:gd name="connsiteY794" fmla="*/ 4364670 h 6858000"/>
              <a:gd name="connsiteX795" fmla="*/ 5958437 w 6530564"/>
              <a:gd name="connsiteY795" fmla="*/ 4365486 h 6858000"/>
              <a:gd name="connsiteX796" fmla="*/ 5959251 w 6530564"/>
              <a:gd name="connsiteY796" fmla="*/ 4369296 h 6858000"/>
              <a:gd name="connsiteX797" fmla="*/ 5945069 w 6530564"/>
              <a:gd name="connsiteY797" fmla="*/ 4396235 h 6858000"/>
              <a:gd name="connsiteX798" fmla="*/ 5955695 w 6530564"/>
              <a:gd name="connsiteY798" fmla="*/ 4389979 h 6858000"/>
              <a:gd name="connsiteX799" fmla="*/ 5956509 w 6530564"/>
              <a:gd name="connsiteY799" fmla="*/ 4393791 h 6858000"/>
              <a:gd name="connsiteX800" fmla="*/ 5959509 w 6530564"/>
              <a:gd name="connsiteY800" fmla="*/ 4389164 h 6858000"/>
              <a:gd name="connsiteX801" fmla="*/ 5963323 w 6530564"/>
              <a:gd name="connsiteY801" fmla="*/ 4388350 h 6858000"/>
              <a:gd name="connsiteX802" fmla="*/ 5943140 w 6530564"/>
              <a:gd name="connsiteY802" fmla="*/ 4424538 h 6858000"/>
              <a:gd name="connsiteX803" fmla="*/ 5933884 w 6530564"/>
              <a:gd name="connsiteY803" fmla="*/ 4418547 h 6858000"/>
              <a:gd name="connsiteX804" fmla="*/ 5895447 w 6530564"/>
              <a:gd name="connsiteY804" fmla="*/ 4462619 h 6858000"/>
              <a:gd name="connsiteX805" fmla="*/ 5880707 w 6530564"/>
              <a:gd name="connsiteY805" fmla="*/ 4505613 h 6858000"/>
              <a:gd name="connsiteX806" fmla="*/ 5846083 w 6530564"/>
              <a:gd name="connsiteY806" fmla="*/ 4548870 h 6858000"/>
              <a:gd name="connsiteX807" fmla="*/ 5839527 w 6530564"/>
              <a:gd name="connsiteY807" fmla="*/ 4574178 h 6858000"/>
              <a:gd name="connsiteX808" fmla="*/ 5727729 w 6530564"/>
              <a:gd name="connsiteY808" fmla="*/ 4741505 h 6858000"/>
              <a:gd name="connsiteX809" fmla="*/ 5808417 w 6530564"/>
              <a:gd name="connsiteY809" fmla="*/ 4652545 h 6858000"/>
              <a:gd name="connsiteX810" fmla="*/ 5869779 w 6530564"/>
              <a:gd name="connsiteY810" fmla="*/ 4547793 h 6858000"/>
              <a:gd name="connsiteX811" fmla="*/ 5870593 w 6530564"/>
              <a:gd name="connsiteY811" fmla="*/ 4551603 h 6858000"/>
              <a:gd name="connsiteX812" fmla="*/ 5868407 w 6530564"/>
              <a:gd name="connsiteY812" fmla="*/ 4560039 h 6858000"/>
              <a:gd name="connsiteX813" fmla="*/ 5871408 w 6530564"/>
              <a:gd name="connsiteY813" fmla="*/ 4555413 h 6858000"/>
              <a:gd name="connsiteX814" fmla="*/ 5878220 w 6530564"/>
              <a:gd name="connsiteY814" fmla="*/ 4549973 h 6858000"/>
              <a:gd name="connsiteX815" fmla="*/ 5869221 w 6530564"/>
              <a:gd name="connsiteY815" fmla="*/ 4563850 h 6858000"/>
              <a:gd name="connsiteX816" fmla="*/ 5934654 w 6530564"/>
              <a:gd name="connsiteY816" fmla="*/ 4478149 h 6858000"/>
              <a:gd name="connsiteX817" fmla="*/ 5995761 w 6530564"/>
              <a:gd name="connsiteY817" fmla="*/ 4353528 h 6858000"/>
              <a:gd name="connsiteX818" fmla="*/ 6037497 w 6530564"/>
              <a:gd name="connsiteY818" fmla="*/ 4268905 h 6858000"/>
              <a:gd name="connsiteX819" fmla="*/ 6066979 w 6530564"/>
              <a:gd name="connsiteY819" fmla="*/ 4182916 h 6858000"/>
              <a:gd name="connsiteX820" fmla="*/ 6092089 w 6530564"/>
              <a:gd name="connsiteY820" fmla="*/ 4113800 h 6858000"/>
              <a:gd name="connsiteX821" fmla="*/ 6095089 w 6530564"/>
              <a:gd name="connsiteY821" fmla="*/ 4109174 h 6858000"/>
              <a:gd name="connsiteX822" fmla="*/ 6097275 w 6530564"/>
              <a:gd name="connsiteY822" fmla="*/ 4100738 h 6858000"/>
              <a:gd name="connsiteX823" fmla="*/ 6147797 w 6530564"/>
              <a:gd name="connsiteY823" fmla="*/ 3926580 h 6858000"/>
              <a:gd name="connsiteX824" fmla="*/ 6161681 w 6530564"/>
              <a:gd name="connsiteY824" fmla="*/ 3935566 h 6858000"/>
              <a:gd name="connsiteX825" fmla="*/ 6176677 w 6530564"/>
              <a:gd name="connsiteY825" fmla="*/ 3912441 h 6858000"/>
              <a:gd name="connsiteX826" fmla="*/ 6174493 w 6530564"/>
              <a:gd name="connsiteY826" fmla="*/ 3920876 h 6858000"/>
              <a:gd name="connsiteX827" fmla="*/ 6172306 w 6530564"/>
              <a:gd name="connsiteY827" fmla="*/ 3929312 h 6858000"/>
              <a:gd name="connsiteX828" fmla="*/ 6175307 w 6530564"/>
              <a:gd name="connsiteY828" fmla="*/ 3924687 h 6858000"/>
              <a:gd name="connsiteX829" fmla="*/ 6177492 w 6530564"/>
              <a:gd name="connsiteY829" fmla="*/ 3916252 h 6858000"/>
              <a:gd name="connsiteX830" fmla="*/ 6180491 w 6530564"/>
              <a:gd name="connsiteY830" fmla="*/ 3911626 h 6858000"/>
              <a:gd name="connsiteX831" fmla="*/ 6187861 w 6530564"/>
              <a:gd name="connsiteY831" fmla="*/ 3890129 h 6858000"/>
              <a:gd name="connsiteX832" fmla="*/ 6187047 w 6530564"/>
              <a:gd name="connsiteY832" fmla="*/ 3886319 h 6858000"/>
              <a:gd name="connsiteX833" fmla="*/ 6186233 w 6530564"/>
              <a:gd name="connsiteY833" fmla="*/ 3882508 h 6858000"/>
              <a:gd name="connsiteX834" fmla="*/ 6183373 w 6530564"/>
              <a:gd name="connsiteY834" fmla="*/ 3883119 h 6858000"/>
              <a:gd name="connsiteX835" fmla="*/ 6183513 w 6530564"/>
              <a:gd name="connsiteY835" fmla="*/ 3879104 h 6858000"/>
              <a:gd name="connsiteX836" fmla="*/ 6183791 w 6530564"/>
              <a:gd name="connsiteY836" fmla="*/ 3871076 h 6858000"/>
              <a:gd name="connsiteX837" fmla="*/ 6167166 w 6530564"/>
              <a:gd name="connsiteY837" fmla="*/ 3886581 h 6858000"/>
              <a:gd name="connsiteX838" fmla="*/ 6168280 w 6530564"/>
              <a:gd name="connsiteY838" fmla="*/ 3854469 h 6858000"/>
              <a:gd name="connsiteX839" fmla="*/ 6163653 w 6530564"/>
              <a:gd name="connsiteY839" fmla="*/ 3851471 h 6858000"/>
              <a:gd name="connsiteX840" fmla="*/ 6167465 w 6530564"/>
              <a:gd name="connsiteY840" fmla="*/ 3850657 h 6858000"/>
              <a:gd name="connsiteX841" fmla="*/ 6166651 w 6530564"/>
              <a:gd name="connsiteY841" fmla="*/ 3846847 h 6858000"/>
              <a:gd name="connsiteX842" fmla="*/ 6165837 w 6530564"/>
              <a:gd name="connsiteY842" fmla="*/ 3843036 h 6858000"/>
              <a:gd name="connsiteX843" fmla="*/ 6165022 w 6530564"/>
              <a:gd name="connsiteY843" fmla="*/ 3839226 h 6858000"/>
              <a:gd name="connsiteX844" fmla="*/ 6175693 w 6530564"/>
              <a:gd name="connsiteY844" fmla="*/ 3777178 h 6858000"/>
              <a:gd name="connsiteX845" fmla="*/ 6171880 w 6530564"/>
              <a:gd name="connsiteY845" fmla="*/ 3777993 h 6858000"/>
              <a:gd name="connsiteX846" fmla="*/ 6174879 w 6530564"/>
              <a:gd name="connsiteY846" fmla="*/ 3773367 h 6858000"/>
              <a:gd name="connsiteX847" fmla="*/ 6180065 w 6530564"/>
              <a:gd name="connsiteY847" fmla="*/ 3760306 h 6858000"/>
              <a:gd name="connsiteX848" fmla="*/ 6175436 w 6530564"/>
              <a:gd name="connsiteY848" fmla="*/ 3757310 h 6858000"/>
              <a:gd name="connsiteX849" fmla="*/ 6197548 w 6530564"/>
              <a:gd name="connsiteY849" fmla="*/ 3692818 h 6858000"/>
              <a:gd name="connsiteX850" fmla="*/ 6199520 w 6530564"/>
              <a:gd name="connsiteY850" fmla="*/ 3608723 h 6858000"/>
              <a:gd name="connsiteX851" fmla="*/ 6065238 w 6530564"/>
              <a:gd name="connsiteY851" fmla="*/ 3308795 h 6858000"/>
              <a:gd name="connsiteX852" fmla="*/ 6065531 w 6530564"/>
              <a:gd name="connsiteY852" fmla="*/ 3314628 h 6858000"/>
              <a:gd name="connsiteX853" fmla="*/ 5962661 w 6530564"/>
              <a:gd name="connsiteY853" fmla="*/ 3968210 h 6858000"/>
              <a:gd name="connsiteX854" fmla="*/ 5809937 w 6530564"/>
              <a:gd name="connsiteY854" fmla="*/ 4303923 h 6858000"/>
              <a:gd name="connsiteX855" fmla="*/ 5551706 w 6530564"/>
              <a:gd name="connsiteY855" fmla="*/ 4690196 h 6858000"/>
              <a:gd name="connsiteX856" fmla="*/ 5516536 w 6530564"/>
              <a:gd name="connsiteY856" fmla="*/ 4707050 h 6858000"/>
              <a:gd name="connsiteX857" fmla="*/ 5503087 w 6530564"/>
              <a:gd name="connsiteY857" fmla="*/ 4713664 h 6858000"/>
              <a:gd name="connsiteX858" fmla="*/ 5304022 w 6530564"/>
              <a:gd name="connsiteY858" fmla="*/ 4917255 h 6858000"/>
              <a:gd name="connsiteX859" fmla="*/ 5300471 w 6530564"/>
              <a:gd name="connsiteY859" fmla="*/ 4925062 h 6858000"/>
              <a:gd name="connsiteX860" fmla="*/ 5343981 w 6530564"/>
              <a:gd name="connsiteY860" fmla="*/ 4920662 h 6858000"/>
              <a:gd name="connsiteX861" fmla="*/ 5655346 w 6530564"/>
              <a:gd name="connsiteY861" fmla="*/ 4608480 h 6858000"/>
              <a:gd name="connsiteX862" fmla="*/ 5983356 w 6530564"/>
              <a:gd name="connsiteY862" fmla="*/ 3978135 h 6858000"/>
              <a:gd name="connsiteX863" fmla="*/ 6073117 w 6530564"/>
              <a:gd name="connsiteY863" fmla="*/ 3583217 h 6858000"/>
              <a:gd name="connsiteX864" fmla="*/ 6074066 w 6530564"/>
              <a:gd name="connsiteY864" fmla="*/ 3578467 h 6858000"/>
              <a:gd name="connsiteX865" fmla="*/ 6079369 w 6530564"/>
              <a:gd name="connsiteY865" fmla="*/ 3507090 h 6858000"/>
              <a:gd name="connsiteX866" fmla="*/ 6072751 w 6530564"/>
              <a:gd name="connsiteY866" fmla="*/ 3363985 h 6858000"/>
              <a:gd name="connsiteX867" fmla="*/ 2047326 w 6530564"/>
              <a:gd name="connsiteY867" fmla="*/ 3281632 h 6858000"/>
              <a:gd name="connsiteX868" fmla="*/ 2045645 w 6530564"/>
              <a:gd name="connsiteY868" fmla="*/ 3284178 h 6858000"/>
              <a:gd name="connsiteX869" fmla="*/ 2047343 w 6530564"/>
              <a:gd name="connsiteY869" fmla="*/ 3286585 h 6858000"/>
              <a:gd name="connsiteX870" fmla="*/ 2051036 w 6530564"/>
              <a:gd name="connsiteY870" fmla="*/ 3201671 h 6858000"/>
              <a:gd name="connsiteX871" fmla="*/ 2050661 w 6530564"/>
              <a:gd name="connsiteY871" fmla="*/ 3206416 h 6858000"/>
              <a:gd name="connsiteX872" fmla="*/ 2049263 w 6530564"/>
              <a:gd name="connsiteY872" fmla="*/ 3226807 h 6858000"/>
              <a:gd name="connsiteX873" fmla="*/ 2049406 w 6530564"/>
              <a:gd name="connsiteY873" fmla="*/ 3233130 h 6858000"/>
              <a:gd name="connsiteX874" fmla="*/ 1495570 w 6530564"/>
              <a:gd name="connsiteY874" fmla="*/ 3077486 h 6858000"/>
              <a:gd name="connsiteX875" fmla="*/ 1496569 w 6530564"/>
              <a:gd name="connsiteY875" fmla="*/ 3082159 h 6858000"/>
              <a:gd name="connsiteX876" fmla="*/ 1491897 w 6530564"/>
              <a:gd name="connsiteY876" fmla="*/ 3083156 h 6858000"/>
              <a:gd name="connsiteX877" fmla="*/ 1495570 w 6530564"/>
              <a:gd name="connsiteY877" fmla="*/ 3077486 h 6858000"/>
              <a:gd name="connsiteX878" fmla="*/ 2063000 w 6530564"/>
              <a:gd name="connsiteY878" fmla="*/ 3065542 h 6858000"/>
              <a:gd name="connsiteX879" fmla="*/ 2061195 w 6530564"/>
              <a:gd name="connsiteY879" fmla="*/ 3075253 h 6858000"/>
              <a:gd name="connsiteX880" fmla="*/ 2058277 w 6530564"/>
              <a:gd name="connsiteY880" fmla="*/ 3102543 h 6858000"/>
              <a:gd name="connsiteX881" fmla="*/ 2056929 w 6530564"/>
              <a:gd name="connsiteY881" fmla="*/ 3122128 h 6858000"/>
              <a:gd name="connsiteX882" fmla="*/ 6487598 w 6530564"/>
              <a:gd name="connsiteY882" fmla="*/ 3056185 h 6858000"/>
              <a:gd name="connsiteX883" fmla="*/ 6493268 w 6530564"/>
              <a:gd name="connsiteY883" fmla="*/ 3059858 h 6858000"/>
              <a:gd name="connsiteX884" fmla="*/ 6488597 w 6530564"/>
              <a:gd name="connsiteY884" fmla="*/ 3060857 h 6858000"/>
              <a:gd name="connsiteX885" fmla="*/ 6487598 w 6530564"/>
              <a:gd name="connsiteY885" fmla="*/ 3056185 h 6858000"/>
              <a:gd name="connsiteX886" fmla="*/ 6485963 w 6530564"/>
              <a:gd name="connsiteY886" fmla="*/ 3002807 h 6858000"/>
              <a:gd name="connsiteX887" fmla="*/ 6508597 w 6530564"/>
              <a:gd name="connsiteY887" fmla="*/ 3085888 h 6858000"/>
              <a:gd name="connsiteX888" fmla="*/ 6520853 w 6530564"/>
              <a:gd name="connsiteY888" fmla="*/ 3091817 h 6858000"/>
              <a:gd name="connsiteX889" fmla="*/ 6530564 w 6530564"/>
              <a:gd name="connsiteY889" fmla="*/ 3120178 h 6858000"/>
              <a:gd name="connsiteX890" fmla="*/ 6530564 w 6530564"/>
              <a:gd name="connsiteY890" fmla="*/ 3206162 h 6858000"/>
              <a:gd name="connsiteX891" fmla="*/ 6521209 w 6530564"/>
              <a:gd name="connsiteY891" fmla="*/ 3190646 h 6858000"/>
              <a:gd name="connsiteX892" fmla="*/ 6525881 w 6530564"/>
              <a:gd name="connsiteY892" fmla="*/ 3189649 h 6858000"/>
              <a:gd name="connsiteX893" fmla="*/ 6523885 w 6530564"/>
              <a:gd name="connsiteY893" fmla="*/ 3180305 h 6858000"/>
              <a:gd name="connsiteX894" fmla="*/ 6522887 w 6530564"/>
              <a:gd name="connsiteY894" fmla="*/ 3175635 h 6858000"/>
              <a:gd name="connsiteX895" fmla="*/ 6517578 w 6530564"/>
              <a:gd name="connsiteY895" fmla="*/ 3127927 h 6858000"/>
              <a:gd name="connsiteX896" fmla="*/ 6512907 w 6530564"/>
              <a:gd name="connsiteY896" fmla="*/ 3128925 h 6858000"/>
              <a:gd name="connsiteX897" fmla="*/ 6516581 w 6530564"/>
              <a:gd name="connsiteY897" fmla="*/ 3123256 h 6858000"/>
              <a:gd name="connsiteX898" fmla="*/ 6510911 w 6530564"/>
              <a:gd name="connsiteY898" fmla="*/ 3119583 h 6858000"/>
              <a:gd name="connsiteX899" fmla="*/ 6504923 w 6530564"/>
              <a:gd name="connsiteY899" fmla="*/ 3091557 h 6858000"/>
              <a:gd name="connsiteX900" fmla="*/ 6497260 w 6530564"/>
              <a:gd name="connsiteY900" fmla="*/ 3078542 h 6858000"/>
              <a:gd name="connsiteX901" fmla="*/ 6500931 w 6530564"/>
              <a:gd name="connsiteY901" fmla="*/ 3072873 h 6858000"/>
              <a:gd name="connsiteX902" fmla="*/ 6490593 w 6530564"/>
              <a:gd name="connsiteY902" fmla="*/ 3070198 h 6858000"/>
              <a:gd name="connsiteX903" fmla="*/ 6495263 w 6530564"/>
              <a:gd name="connsiteY903" fmla="*/ 3069200 h 6858000"/>
              <a:gd name="connsiteX904" fmla="*/ 6494265 w 6530564"/>
              <a:gd name="connsiteY904" fmla="*/ 3064529 h 6858000"/>
              <a:gd name="connsiteX905" fmla="*/ 6493268 w 6530564"/>
              <a:gd name="connsiteY905" fmla="*/ 3059858 h 6858000"/>
              <a:gd name="connsiteX906" fmla="*/ 6492269 w 6530564"/>
              <a:gd name="connsiteY906" fmla="*/ 3055188 h 6858000"/>
              <a:gd name="connsiteX907" fmla="*/ 6491272 w 6530564"/>
              <a:gd name="connsiteY907" fmla="*/ 3050515 h 6858000"/>
              <a:gd name="connsiteX908" fmla="*/ 6493945 w 6530564"/>
              <a:gd name="connsiteY908" fmla="*/ 3040177 h 6858000"/>
              <a:gd name="connsiteX909" fmla="*/ 6487279 w 6530564"/>
              <a:gd name="connsiteY909" fmla="*/ 3031831 h 6858000"/>
              <a:gd name="connsiteX910" fmla="*/ 6485963 w 6530564"/>
              <a:gd name="connsiteY910" fmla="*/ 3002807 h 6858000"/>
              <a:gd name="connsiteX911" fmla="*/ 2135961 w 6530564"/>
              <a:gd name="connsiteY911" fmla="*/ 2977892 h 6858000"/>
              <a:gd name="connsiteX912" fmla="*/ 2135002 w 6530564"/>
              <a:gd name="connsiteY912" fmla="*/ 2982694 h 6858000"/>
              <a:gd name="connsiteX913" fmla="*/ 2136350 w 6530564"/>
              <a:gd name="connsiteY913" fmla="*/ 2985028 h 6858000"/>
              <a:gd name="connsiteX914" fmla="*/ 2138107 w 6530564"/>
              <a:gd name="connsiteY914" fmla="*/ 2978468 h 6858000"/>
              <a:gd name="connsiteX915" fmla="*/ 1530525 w 6530564"/>
              <a:gd name="connsiteY915" fmla="*/ 2870743 h 6858000"/>
              <a:gd name="connsiteX916" fmla="*/ 1530389 w 6530564"/>
              <a:gd name="connsiteY916" fmla="*/ 2874680 h 6858000"/>
              <a:gd name="connsiteX917" fmla="*/ 1526716 w 6530564"/>
              <a:gd name="connsiteY917" fmla="*/ 2880348 h 6858000"/>
              <a:gd name="connsiteX918" fmla="*/ 1549890 w 6530564"/>
              <a:gd name="connsiteY918" fmla="*/ 2806826 h 6858000"/>
              <a:gd name="connsiteX919" fmla="*/ 1550113 w 6530564"/>
              <a:gd name="connsiteY919" fmla="*/ 2806971 h 6858000"/>
              <a:gd name="connsiteX920" fmla="*/ 1549629 w 6530564"/>
              <a:gd name="connsiteY920" fmla="*/ 2807814 h 6858000"/>
              <a:gd name="connsiteX921" fmla="*/ 2190201 w 6530564"/>
              <a:gd name="connsiteY921" fmla="*/ 2770932 h 6858000"/>
              <a:gd name="connsiteX922" fmla="*/ 2189323 w 6530564"/>
              <a:gd name="connsiteY922" fmla="*/ 2774211 h 6858000"/>
              <a:gd name="connsiteX923" fmla="*/ 2188443 w 6530564"/>
              <a:gd name="connsiteY923" fmla="*/ 2777491 h 6858000"/>
              <a:gd name="connsiteX924" fmla="*/ 2184927 w 6530564"/>
              <a:gd name="connsiteY924" fmla="*/ 2790612 h 6858000"/>
              <a:gd name="connsiteX925" fmla="*/ 2181290 w 6530564"/>
              <a:gd name="connsiteY925" fmla="*/ 2797164 h 6858000"/>
              <a:gd name="connsiteX926" fmla="*/ 6368398 w 6530564"/>
              <a:gd name="connsiteY926" fmla="*/ 2681145 h 6858000"/>
              <a:gd name="connsiteX927" fmla="*/ 6376065 w 6530564"/>
              <a:gd name="connsiteY927" fmla="*/ 2694161 h 6858000"/>
              <a:gd name="connsiteX928" fmla="*/ 6377063 w 6530564"/>
              <a:gd name="connsiteY928" fmla="*/ 2698832 h 6858000"/>
              <a:gd name="connsiteX929" fmla="*/ 6378061 w 6530564"/>
              <a:gd name="connsiteY929" fmla="*/ 2703503 h 6858000"/>
              <a:gd name="connsiteX930" fmla="*/ 6379057 w 6530564"/>
              <a:gd name="connsiteY930" fmla="*/ 2708174 h 6858000"/>
              <a:gd name="connsiteX931" fmla="*/ 6372391 w 6530564"/>
              <a:gd name="connsiteY931" fmla="*/ 2699831 h 6858000"/>
              <a:gd name="connsiteX932" fmla="*/ 6368398 w 6530564"/>
              <a:gd name="connsiteY932" fmla="*/ 2681145 h 6858000"/>
              <a:gd name="connsiteX933" fmla="*/ 1615952 w 6530564"/>
              <a:gd name="connsiteY933" fmla="*/ 2612189 h 6858000"/>
              <a:gd name="connsiteX934" fmla="*/ 1617948 w 6530564"/>
              <a:gd name="connsiteY934" fmla="*/ 2621531 h 6858000"/>
              <a:gd name="connsiteX935" fmla="*/ 1578861 w 6530564"/>
              <a:gd name="connsiteY935" fmla="*/ 2712914 h 6858000"/>
              <a:gd name="connsiteX936" fmla="*/ 1573966 w 6530564"/>
              <a:gd name="connsiteY936" fmla="*/ 2741433 h 6858000"/>
              <a:gd name="connsiteX937" fmla="*/ 1556905 w 6530564"/>
              <a:gd name="connsiteY937" fmla="*/ 2780304 h 6858000"/>
              <a:gd name="connsiteX938" fmla="*/ 1579289 w 6530564"/>
              <a:gd name="connsiteY938" fmla="*/ 2695699 h 6858000"/>
              <a:gd name="connsiteX939" fmla="*/ 1595842 w 6530564"/>
              <a:gd name="connsiteY939" fmla="*/ 2645791 h 6858000"/>
              <a:gd name="connsiteX940" fmla="*/ 1603256 w 6530564"/>
              <a:gd name="connsiteY940" fmla="*/ 2644207 h 6858000"/>
              <a:gd name="connsiteX941" fmla="*/ 1612279 w 6530564"/>
              <a:gd name="connsiteY941" fmla="*/ 2617859 h 6858000"/>
              <a:gd name="connsiteX942" fmla="*/ 1615952 w 6530564"/>
              <a:gd name="connsiteY942" fmla="*/ 2612189 h 6858000"/>
              <a:gd name="connsiteX943" fmla="*/ 1613956 w 6530564"/>
              <a:gd name="connsiteY943" fmla="*/ 2602847 h 6858000"/>
              <a:gd name="connsiteX944" fmla="*/ 1611280 w 6530564"/>
              <a:gd name="connsiteY944" fmla="*/ 2613188 h 6858000"/>
              <a:gd name="connsiteX945" fmla="*/ 1607608 w 6530564"/>
              <a:gd name="connsiteY945" fmla="*/ 2618857 h 6858000"/>
              <a:gd name="connsiteX946" fmla="*/ 1599798 w 6530564"/>
              <a:gd name="connsiteY946" fmla="*/ 2633861 h 6858000"/>
              <a:gd name="connsiteX947" fmla="*/ 1607087 w 6530564"/>
              <a:gd name="connsiteY947" fmla="*/ 2611884 h 6858000"/>
              <a:gd name="connsiteX948" fmla="*/ 1610283 w 6530564"/>
              <a:gd name="connsiteY948" fmla="*/ 2608515 h 6858000"/>
              <a:gd name="connsiteX949" fmla="*/ 1609003 w 6530564"/>
              <a:gd name="connsiteY949" fmla="*/ 2606107 h 6858000"/>
              <a:gd name="connsiteX950" fmla="*/ 1609622 w 6530564"/>
              <a:gd name="connsiteY950" fmla="*/ 2604236 h 6858000"/>
              <a:gd name="connsiteX951" fmla="*/ 1612438 w 6530564"/>
              <a:gd name="connsiteY951" fmla="*/ 2595743 h 6858000"/>
              <a:gd name="connsiteX952" fmla="*/ 1612958 w 6530564"/>
              <a:gd name="connsiteY952" fmla="*/ 2598177 h 6858000"/>
              <a:gd name="connsiteX953" fmla="*/ 1611136 w 6530564"/>
              <a:gd name="connsiteY953" fmla="*/ 2599671 h 6858000"/>
              <a:gd name="connsiteX954" fmla="*/ 1622980 w 6530564"/>
              <a:gd name="connsiteY954" fmla="*/ 2576498 h 6858000"/>
              <a:gd name="connsiteX955" fmla="*/ 1620306 w 6530564"/>
              <a:gd name="connsiteY955" fmla="*/ 2586839 h 6858000"/>
              <a:gd name="connsiteX956" fmla="*/ 1619308 w 6530564"/>
              <a:gd name="connsiteY956" fmla="*/ 2582167 h 6858000"/>
              <a:gd name="connsiteX957" fmla="*/ 1616762 w 6530564"/>
              <a:gd name="connsiteY957" fmla="*/ 2582712 h 6858000"/>
              <a:gd name="connsiteX958" fmla="*/ 1618505 w 6530564"/>
              <a:gd name="connsiteY958" fmla="*/ 2577454 h 6858000"/>
              <a:gd name="connsiteX959" fmla="*/ 1649502 w 6530564"/>
              <a:gd name="connsiteY959" fmla="*/ 2499886 h 6858000"/>
              <a:gd name="connsiteX960" fmla="*/ 1648634 w 6530564"/>
              <a:gd name="connsiteY960" fmla="*/ 2503325 h 6858000"/>
              <a:gd name="connsiteX961" fmla="*/ 1655719 w 6530564"/>
              <a:gd name="connsiteY961" fmla="*/ 2501126 h 6858000"/>
              <a:gd name="connsiteX962" fmla="*/ 1625655 w 6530564"/>
              <a:gd name="connsiteY962" fmla="*/ 2566159 h 6858000"/>
              <a:gd name="connsiteX963" fmla="*/ 1621993 w 6530564"/>
              <a:gd name="connsiteY963" fmla="*/ 2566942 h 6858000"/>
              <a:gd name="connsiteX964" fmla="*/ 1623115 w 6530564"/>
              <a:gd name="connsiteY964" fmla="*/ 2563555 h 6858000"/>
              <a:gd name="connsiteX965" fmla="*/ 2319373 w 6530564"/>
              <a:gd name="connsiteY965" fmla="*/ 2498792 h 6858000"/>
              <a:gd name="connsiteX966" fmla="*/ 2303814 w 6530564"/>
              <a:gd name="connsiteY966" fmla="*/ 2500188 h 6858000"/>
              <a:gd name="connsiteX967" fmla="*/ 2290837 w 6530564"/>
              <a:gd name="connsiteY967" fmla="*/ 2517807 h 6858000"/>
              <a:gd name="connsiteX968" fmla="*/ 2215875 w 6530564"/>
              <a:gd name="connsiteY968" fmla="*/ 2697450 h 6858000"/>
              <a:gd name="connsiteX969" fmla="*/ 2209226 w 6530564"/>
              <a:gd name="connsiteY969" fmla="*/ 2715686 h 6858000"/>
              <a:gd name="connsiteX970" fmla="*/ 2208765 w 6530564"/>
              <a:gd name="connsiteY970" fmla="*/ 2718664 h 6858000"/>
              <a:gd name="connsiteX971" fmla="*/ 2202915 w 6530564"/>
              <a:gd name="connsiteY971" fmla="*/ 2749726 h 6858000"/>
              <a:gd name="connsiteX972" fmla="*/ 2202035 w 6530564"/>
              <a:gd name="connsiteY972" fmla="*/ 2753007 h 6858000"/>
              <a:gd name="connsiteX973" fmla="*/ 2195240 w 6530564"/>
              <a:gd name="connsiteY973" fmla="*/ 2765248 h 6858000"/>
              <a:gd name="connsiteX974" fmla="*/ 2191960 w 6530564"/>
              <a:gd name="connsiteY974" fmla="*/ 2764370 h 6858000"/>
              <a:gd name="connsiteX975" fmla="*/ 2191515 w 6530564"/>
              <a:gd name="connsiteY975" fmla="*/ 2764250 h 6858000"/>
              <a:gd name="connsiteX976" fmla="*/ 2182554 w 6530564"/>
              <a:gd name="connsiteY976" fmla="*/ 2788823 h 6858000"/>
              <a:gd name="connsiteX977" fmla="*/ 2178751 w 6530564"/>
              <a:gd name="connsiteY977" fmla="*/ 2801737 h 6858000"/>
              <a:gd name="connsiteX978" fmla="*/ 2181290 w 6530564"/>
              <a:gd name="connsiteY978" fmla="*/ 2797164 h 6858000"/>
              <a:gd name="connsiteX979" fmla="*/ 2172327 w 6530564"/>
              <a:gd name="connsiteY979" fmla="*/ 2823555 h 6858000"/>
              <a:gd name="connsiteX980" fmla="*/ 2164219 w 6530564"/>
              <a:gd name="connsiteY980" fmla="*/ 2851082 h 6858000"/>
              <a:gd name="connsiteX981" fmla="*/ 2161835 w 6530564"/>
              <a:gd name="connsiteY981" fmla="*/ 2861828 h 6858000"/>
              <a:gd name="connsiteX982" fmla="*/ 2158794 w 6530564"/>
              <a:gd name="connsiteY982" fmla="*/ 2875021 h 6858000"/>
              <a:gd name="connsiteX983" fmla="*/ 2157915 w 6530564"/>
              <a:gd name="connsiteY983" fmla="*/ 2878301 h 6858000"/>
              <a:gd name="connsiteX984" fmla="*/ 2148821 w 6530564"/>
              <a:gd name="connsiteY984" fmla="*/ 2913407 h 6858000"/>
              <a:gd name="connsiteX985" fmla="*/ 2139494 w 6530564"/>
              <a:gd name="connsiteY985" fmla="*/ 2960172 h 6858000"/>
              <a:gd name="connsiteX986" fmla="*/ 2142037 w 6530564"/>
              <a:gd name="connsiteY986" fmla="*/ 2950680 h 6858000"/>
              <a:gd name="connsiteX987" fmla="*/ 2161195 w 6530564"/>
              <a:gd name="connsiteY987" fmla="*/ 2879181 h 6858000"/>
              <a:gd name="connsiteX988" fmla="*/ 2168636 w 6530564"/>
              <a:gd name="connsiteY988" fmla="*/ 2877658 h 6858000"/>
              <a:gd name="connsiteX989" fmla="*/ 2169514 w 6530564"/>
              <a:gd name="connsiteY989" fmla="*/ 2874377 h 6858000"/>
              <a:gd name="connsiteX990" fmla="*/ 2166235 w 6530564"/>
              <a:gd name="connsiteY990" fmla="*/ 2873499 h 6858000"/>
              <a:gd name="connsiteX991" fmla="*/ 2184693 w 6530564"/>
              <a:gd name="connsiteY991" fmla="*/ 2804613 h 6858000"/>
              <a:gd name="connsiteX992" fmla="*/ 2181412 w 6530564"/>
              <a:gd name="connsiteY992" fmla="*/ 2803733 h 6858000"/>
              <a:gd name="connsiteX993" fmla="*/ 2188209 w 6530564"/>
              <a:gd name="connsiteY993" fmla="*/ 2791491 h 6858000"/>
              <a:gd name="connsiteX994" fmla="*/ 2189966 w 6530564"/>
              <a:gd name="connsiteY994" fmla="*/ 2784930 h 6858000"/>
              <a:gd name="connsiteX995" fmla="*/ 2202207 w 6530564"/>
              <a:gd name="connsiteY995" fmla="*/ 2791725 h 6858000"/>
              <a:gd name="connsiteX996" fmla="*/ 2198691 w 6530564"/>
              <a:gd name="connsiteY996" fmla="*/ 2804847 h 6858000"/>
              <a:gd name="connsiteX997" fmla="*/ 2193417 w 6530564"/>
              <a:gd name="connsiteY997" fmla="*/ 2824530 h 6858000"/>
              <a:gd name="connsiteX998" fmla="*/ 2192539 w 6530564"/>
              <a:gd name="connsiteY998" fmla="*/ 2827809 h 6858000"/>
              <a:gd name="connsiteX999" fmla="*/ 2191660 w 6530564"/>
              <a:gd name="connsiteY999" fmla="*/ 2831090 h 6858000"/>
              <a:gd name="connsiteX1000" fmla="*/ 2189902 w 6530564"/>
              <a:gd name="connsiteY1000" fmla="*/ 2837650 h 6858000"/>
              <a:gd name="connsiteX1001" fmla="*/ 2189023 w 6530564"/>
              <a:gd name="connsiteY1001" fmla="*/ 2840931 h 6858000"/>
              <a:gd name="connsiteX1002" fmla="*/ 2189696 w 6530564"/>
              <a:gd name="connsiteY1002" fmla="*/ 2840543 h 6858000"/>
              <a:gd name="connsiteX1003" fmla="*/ 2208348 w 6530564"/>
              <a:gd name="connsiteY1003" fmla="*/ 2778797 h 6858000"/>
              <a:gd name="connsiteX1004" fmla="*/ 2211622 w 6530564"/>
              <a:gd name="connsiteY1004" fmla="*/ 2769653 h 6858000"/>
              <a:gd name="connsiteX1005" fmla="*/ 2207481 w 6530564"/>
              <a:gd name="connsiteY1005" fmla="*/ 2772046 h 6858000"/>
              <a:gd name="connsiteX1006" fmla="*/ 2203965 w 6530564"/>
              <a:gd name="connsiteY1006" fmla="*/ 2785166 h 6858000"/>
              <a:gd name="connsiteX1007" fmla="*/ 2192603 w 6530564"/>
              <a:gd name="connsiteY1007" fmla="*/ 2775089 h 6858000"/>
              <a:gd name="connsiteX1008" fmla="*/ 2194361 w 6530564"/>
              <a:gd name="connsiteY1008" fmla="*/ 2768530 h 6858000"/>
              <a:gd name="connsiteX1009" fmla="*/ 2195240 w 6530564"/>
              <a:gd name="connsiteY1009" fmla="*/ 2765248 h 6858000"/>
              <a:gd name="connsiteX1010" fmla="*/ 2197641 w 6530564"/>
              <a:gd name="connsiteY1010" fmla="*/ 2769408 h 6858000"/>
              <a:gd name="connsiteX1011" fmla="*/ 2201800 w 6530564"/>
              <a:gd name="connsiteY1011" fmla="*/ 2767006 h 6858000"/>
              <a:gd name="connsiteX1012" fmla="*/ 2200278 w 6530564"/>
              <a:gd name="connsiteY1012" fmla="*/ 2759567 h 6858000"/>
              <a:gd name="connsiteX1013" fmla="*/ 2201156 w 6530564"/>
              <a:gd name="connsiteY1013" fmla="*/ 2756287 h 6858000"/>
              <a:gd name="connsiteX1014" fmla="*/ 2207953 w 6530564"/>
              <a:gd name="connsiteY1014" fmla="*/ 2744045 h 6858000"/>
              <a:gd name="connsiteX1015" fmla="*/ 2216271 w 6530564"/>
              <a:gd name="connsiteY1015" fmla="*/ 2739241 h 6858000"/>
              <a:gd name="connsiteX1016" fmla="*/ 2225703 w 6530564"/>
              <a:gd name="connsiteY1016" fmla="*/ 2717159 h 6858000"/>
              <a:gd name="connsiteX1017" fmla="*/ 2220022 w 6530564"/>
              <a:gd name="connsiteY1017" fmla="*/ 2712121 h 6858000"/>
              <a:gd name="connsiteX1018" fmla="*/ 2227462 w 6530564"/>
              <a:gd name="connsiteY1018" fmla="*/ 2710598 h 6858000"/>
              <a:gd name="connsiteX1019" fmla="*/ 2229455 w 6530564"/>
              <a:gd name="connsiteY1019" fmla="*/ 2690037 h 6858000"/>
              <a:gd name="connsiteX1020" fmla="*/ 2238887 w 6530564"/>
              <a:gd name="connsiteY1020" fmla="*/ 2667954 h 6858000"/>
              <a:gd name="connsiteX1021" fmla="*/ 2239767 w 6530564"/>
              <a:gd name="connsiteY1021" fmla="*/ 2664674 h 6858000"/>
              <a:gd name="connsiteX1022" fmla="*/ 2248965 w 6530564"/>
              <a:gd name="connsiteY1022" fmla="*/ 2656591 h 6858000"/>
              <a:gd name="connsiteX1023" fmla="*/ 2252715 w 6530564"/>
              <a:gd name="connsiteY1023" fmla="*/ 2629469 h 6858000"/>
              <a:gd name="connsiteX1024" fmla="*/ 2266307 w 6530564"/>
              <a:gd name="connsiteY1024" fmla="*/ 2604985 h 6858000"/>
              <a:gd name="connsiteX1025" fmla="*/ 2273104 w 6530564"/>
              <a:gd name="connsiteY1025" fmla="*/ 2592744 h 6858000"/>
              <a:gd name="connsiteX1026" fmla="*/ 2287340 w 6530564"/>
              <a:gd name="connsiteY1026" fmla="*/ 2578980 h 6858000"/>
              <a:gd name="connsiteX1027" fmla="*/ 2314759 w 6530564"/>
              <a:gd name="connsiteY1027" fmla="*/ 2516010 h 6858000"/>
              <a:gd name="connsiteX1028" fmla="*/ 2318274 w 6530564"/>
              <a:gd name="connsiteY1028" fmla="*/ 2502889 h 6858000"/>
              <a:gd name="connsiteX1029" fmla="*/ 1745743 w 6530564"/>
              <a:gd name="connsiteY1029" fmla="*/ 2277280 h 6858000"/>
              <a:gd name="connsiteX1030" fmla="*/ 1746544 w 6530564"/>
              <a:gd name="connsiteY1030" fmla="*/ 2277481 h 6858000"/>
              <a:gd name="connsiteX1031" fmla="*/ 1735073 w 6530564"/>
              <a:gd name="connsiteY1031" fmla="*/ 2301013 h 6858000"/>
              <a:gd name="connsiteX1032" fmla="*/ 1715529 w 6530564"/>
              <a:gd name="connsiteY1032" fmla="*/ 2346705 h 6858000"/>
              <a:gd name="connsiteX1033" fmla="*/ 1682110 w 6530564"/>
              <a:gd name="connsiteY1033" fmla="*/ 2441760 h 6858000"/>
              <a:gd name="connsiteX1034" fmla="*/ 1676442 w 6530564"/>
              <a:gd name="connsiteY1034" fmla="*/ 2438087 h 6858000"/>
              <a:gd name="connsiteX1035" fmla="*/ 1665372 w 6530564"/>
              <a:gd name="connsiteY1035" fmla="*/ 2469147 h 6858000"/>
              <a:gd name="connsiteX1036" fmla="*/ 1652015 w 6530564"/>
              <a:gd name="connsiteY1036" fmla="*/ 2493822 h 6858000"/>
              <a:gd name="connsiteX1037" fmla="*/ 1729501 w 6530564"/>
              <a:gd name="connsiteY1037" fmla="*/ 2306860 h 6858000"/>
              <a:gd name="connsiteX1038" fmla="*/ 1737409 w 6530564"/>
              <a:gd name="connsiteY1038" fmla="*/ 2286918 h 6858000"/>
              <a:gd name="connsiteX1039" fmla="*/ 1745743 w 6530564"/>
              <a:gd name="connsiteY1039" fmla="*/ 2277280 h 6858000"/>
              <a:gd name="connsiteX1040" fmla="*/ 2406271 w 6530564"/>
              <a:gd name="connsiteY1040" fmla="*/ 2140812 h 6858000"/>
              <a:gd name="connsiteX1041" fmla="*/ 2381400 w 6530564"/>
              <a:gd name="connsiteY1041" fmla="*/ 2172178 h 6858000"/>
              <a:gd name="connsiteX1042" fmla="*/ 2360419 w 6530564"/>
              <a:gd name="connsiteY1042" fmla="*/ 2201275 h 6858000"/>
              <a:gd name="connsiteX1043" fmla="*/ 2279573 w 6530564"/>
              <a:gd name="connsiteY1043" fmla="*/ 2306181 h 6858000"/>
              <a:gd name="connsiteX1044" fmla="*/ 2232000 w 6530564"/>
              <a:gd name="connsiteY1044" fmla="*/ 2391875 h 6858000"/>
              <a:gd name="connsiteX1045" fmla="*/ 2198898 w 6530564"/>
              <a:gd name="connsiteY1045" fmla="*/ 2449807 h 6858000"/>
              <a:gd name="connsiteX1046" fmla="*/ 2155721 w 6530564"/>
              <a:gd name="connsiteY1046" fmla="*/ 2519101 h 6858000"/>
              <a:gd name="connsiteX1047" fmla="*/ 2112543 w 6530564"/>
              <a:gd name="connsiteY1047" fmla="*/ 2588395 h 6858000"/>
              <a:gd name="connsiteX1048" fmla="*/ 2098073 w 6530564"/>
              <a:gd name="connsiteY1048" fmla="*/ 2616160 h 6858000"/>
              <a:gd name="connsiteX1049" fmla="*/ 2078328 w 6530564"/>
              <a:gd name="connsiteY1049" fmla="*/ 2663606 h 6858000"/>
              <a:gd name="connsiteX1050" fmla="*/ 2074811 w 6530564"/>
              <a:gd name="connsiteY1050" fmla="*/ 2676728 h 6858000"/>
              <a:gd name="connsiteX1051" fmla="*/ 2050908 w 6530564"/>
              <a:gd name="connsiteY1051" fmla="*/ 2726574 h 6858000"/>
              <a:gd name="connsiteX1052" fmla="*/ 2050028 w 6530564"/>
              <a:gd name="connsiteY1052" fmla="*/ 2729856 h 6858000"/>
              <a:gd name="connsiteX1053" fmla="*/ 2046748 w 6530564"/>
              <a:gd name="connsiteY1053" fmla="*/ 2728977 h 6858000"/>
              <a:gd name="connsiteX1054" fmla="*/ 2044991 w 6530564"/>
              <a:gd name="connsiteY1054" fmla="*/ 2735538 h 6858000"/>
              <a:gd name="connsiteX1055" fmla="*/ 2048271 w 6530564"/>
              <a:gd name="connsiteY1055" fmla="*/ 2736415 h 6858000"/>
              <a:gd name="connsiteX1056" fmla="*/ 2049149 w 6530564"/>
              <a:gd name="connsiteY1056" fmla="*/ 2733136 h 6858000"/>
              <a:gd name="connsiteX1057" fmla="*/ 2048035 w 6530564"/>
              <a:gd name="connsiteY1057" fmla="*/ 2750415 h 6858000"/>
              <a:gd name="connsiteX1058" fmla="*/ 1995770 w 6530564"/>
              <a:gd name="connsiteY1058" fmla="*/ 2919234 h 6858000"/>
              <a:gd name="connsiteX1059" fmla="*/ 1981470 w 6530564"/>
              <a:gd name="connsiteY1059" fmla="*/ 2985718 h 6858000"/>
              <a:gd name="connsiteX1060" fmla="*/ 1964707 w 6530564"/>
              <a:gd name="connsiteY1060" fmla="*/ 3100763 h 6858000"/>
              <a:gd name="connsiteX1061" fmla="*/ 1953626 w 6530564"/>
              <a:gd name="connsiteY1061" fmla="*/ 3220847 h 6858000"/>
              <a:gd name="connsiteX1062" fmla="*/ 1948288 w 6530564"/>
              <a:gd name="connsiteY1062" fmla="*/ 3293249 h 6858000"/>
              <a:gd name="connsiteX1063" fmla="*/ 1945417 w 6530564"/>
              <a:gd name="connsiteY1063" fmla="*/ 3317092 h 6858000"/>
              <a:gd name="connsiteX1064" fmla="*/ 1946232 w 6530564"/>
              <a:gd name="connsiteY1064" fmla="*/ 3366530 h 6858000"/>
              <a:gd name="connsiteX1065" fmla="*/ 1942952 w 6530564"/>
              <a:gd name="connsiteY1065" fmla="*/ 3365651 h 6858000"/>
              <a:gd name="connsiteX1066" fmla="*/ 1942074 w 6530564"/>
              <a:gd name="connsiteY1066" fmla="*/ 3368931 h 6858000"/>
              <a:gd name="connsiteX1067" fmla="*/ 1940315 w 6530564"/>
              <a:gd name="connsiteY1067" fmla="*/ 3375492 h 6858000"/>
              <a:gd name="connsiteX1068" fmla="*/ 1942716 w 6530564"/>
              <a:gd name="connsiteY1068" fmla="*/ 3379652 h 6858000"/>
              <a:gd name="connsiteX1069" fmla="*/ 1937678 w 6530564"/>
              <a:gd name="connsiteY1069" fmla="*/ 3385333 h 6858000"/>
              <a:gd name="connsiteX1070" fmla="*/ 1944239 w 6530564"/>
              <a:gd name="connsiteY1070" fmla="*/ 3387091 h 6858000"/>
              <a:gd name="connsiteX1071" fmla="*/ 1943359 w 6530564"/>
              <a:gd name="connsiteY1071" fmla="*/ 3390371 h 6858000"/>
              <a:gd name="connsiteX1072" fmla="*/ 1944882 w 6530564"/>
              <a:gd name="connsiteY1072" fmla="*/ 3397810 h 6858000"/>
              <a:gd name="connsiteX1073" fmla="*/ 1949920 w 6530564"/>
              <a:gd name="connsiteY1073" fmla="*/ 3392128 h 6858000"/>
              <a:gd name="connsiteX1074" fmla="*/ 1946640 w 6530564"/>
              <a:gd name="connsiteY1074" fmla="*/ 3391250 h 6858000"/>
              <a:gd name="connsiteX1075" fmla="*/ 1950798 w 6530564"/>
              <a:gd name="connsiteY1075" fmla="*/ 3388848 h 6858000"/>
              <a:gd name="connsiteX1076" fmla="*/ 1955068 w 6530564"/>
              <a:gd name="connsiteY1076" fmla="*/ 3477887 h 6858000"/>
              <a:gd name="connsiteX1077" fmla="*/ 1967593 w 6530564"/>
              <a:gd name="connsiteY1077" fmla="*/ 3614845 h 6858000"/>
              <a:gd name="connsiteX1078" fmla="*/ 1964311 w 6530564"/>
              <a:gd name="connsiteY1078" fmla="*/ 3613965 h 6858000"/>
              <a:gd name="connsiteX1079" fmla="*/ 1965190 w 6530564"/>
              <a:gd name="connsiteY1079" fmla="*/ 3610685 h 6858000"/>
              <a:gd name="connsiteX1080" fmla="*/ 1959509 w 6530564"/>
              <a:gd name="connsiteY1080" fmla="*/ 3605646 h 6858000"/>
              <a:gd name="connsiteX1081" fmla="*/ 1961030 w 6530564"/>
              <a:gd name="connsiteY1081" fmla="*/ 3613086 h 6858000"/>
              <a:gd name="connsiteX1082" fmla="*/ 1962553 w 6530564"/>
              <a:gd name="connsiteY1082" fmla="*/ 3620525 h 6858000"/>
              <a:gd name="connsiteX1083" fmla="*/ 1956636 w 6530564"/>
              <a:gd name="connsiteY1083" fmla="*/ 3629487 h 6858000"/>
              <a:gd name="connsiteX1084" fmla="*/ 1960956 w 6530564"/>
              <a:gd name="connsiteY1084" fmla="*/ 3629767 h 6858000"/>
              <a:gd name="connsiteX1085" fmla="*/ 1961195 w 6530564"/>
              <a:gd name="connsiteY1085" fmla="*/ 3627779 h 6858000"/>
              <a:gd name="connsiteX1086" fmla="*/ 1965598 w 6530564"/>
              <a:gd name="connsiteY1086" fmla="*/ 3635404 h 6858000"/>
              <a:gd name="connsiteX1087" fmla="*/ 1968235 w 6530564"/>
              <a:gd name="connsiteY1087" fmla="*/ 3625564 h 6858000"/>
              <a:gd name="connsiteX1088" fmla="*/ 1982406 w 6530564"/>
              <a:gd name="connsiteY1088" fmla="*/ 3664519 h 6858000"/>
              <a:gd name="connsiteX1089" fmla="*/ 1978248 w 6530564"/>
              <a:gd name="connsiteY1089" fmla="*/ 3666921 h 6858000"/>
              <a:gd name="connsiteX1090" fmla="*/ 1993063 w 6530564"/>
              <a:gd name="connsiteY1090" fmla="*/ 3716595 h 6858000"/>
              <a:gd name="connsiteX1091" fmla="*/ 1990662 w 6530564"/>
              <a:gd name="connsiteY1091" fmla="*/ 3712437 h 6858000"/>
              <a:gd name="connsiteX1092" fmla="*/ 2000440 w 6530564"/>
              <a:gd name="connsiteY1092" fmla="*/ 3767792 h 6858000"/>
              <a:gd name="connsiteX1093" fmla="*/ 2002841 w 6530564"/>
              <a:gd name="connsiteY1093" fmla="*/ 3771952 h 6858000"/>
              <a:gd name="connsiteX1094" fmla="*/ 2006357 w 6530564"/>
              <a:gd name="connsiteY1094" fmla="*/ 3758832 h 6858000"/>
              <a:gd name="connsiteX1095" fmla="*/ 2017248 w 6530564"/>
              <a:gd name="connsiteY1095" fmla="*/ 3796907 h 6858000"/>
              <a:gd name="connsiteX1096" fmla="*/ 2012210 w 6530564"/>
              <a:gd name="connsiteY1096" fmla="*/ 3802590 h 6858000"/>
              <a:gd name="connsiteX1097" fmla="*/ 2020293 w 6530564"/>
              <a:gd name="connsiteY1097" fmla="*/ 3811786 h 6858000"/>
              <a:gd name="connsiteX1098" fmla="*/ 2022695 w 6530564"/>
              <a:gd name="connsiteY1098" fmla="*/ 3815946 h 6858000"/>
              <a:gd name="connsiteX1099" fmla="*/ 2027497 w 6530564"/>
              <a:gd name="connsiteY1099" fmla="*/ 3824264 h 6858000"/>
              <a:gd name="connsiteX1100" fmla="*/ 2029256 w 6530564"/>
              <a:gd name="connsiteY1100" fmla="*/ 3817704 h 6858000"/>
              <a:gd name="connsiteX1101" fmla="*/ 2030134 w 6530564"/>
              <a:gd name="connsiteY1101" fmla="*/ 3814423 h 6858000"/>
              <a:gd name="connsiteX1102" fmla="*/ 2060002 w 6530564"/>
              <a:gd name="connsiteY1102" fmla="*/ 3899774 h 6858000"/>
              <a:gd name="connsiteX1103" fmla="*/ 2059530 w 6530564"/>
              <a:gd name="connsiteY1103" fmla="*/ 3927774 h 6858000"/>
              <a:gd name="connsiteX1104" fmla="*/ 2056251 w 6530564"/>
              <a:gd name="connsiteY1104" fmla="*/ 3926896 h 6858000"/>
              <a:gd name="connsiteX1105" fmla="*/ 2055372 w 6530564"/>
              <a:gd name="connsiteY1105" fmla="*/ 3930176 h 6858000"/>
              <a:gd name="connsiteX1106" fmla="*/ 2060174 w 6530564"/>
              <a:gd name="connsiteY1106" fmla="*/ 3938494 h 6858000"/>
              <a:gd name="connsiteX1107" fmla="*/ 2062575 w 6530564"/>
              <a:gd name="connsiteY1107" fmla="*/ 3942653 h 6858000"/>
              <a:gd name="connsiteX1108" fmla="*/ 2071537 w 6530564"/>
              <a:gd name="connsiteY1108" fmla="*/ 3948570 h 6858000"/>
              <a:gd name="connsiteX1109" fmla="*/ 2077862 w 6530564"/>
              <a:gd name="connsiteY1109" fmla="*/ 3964329 h 6858000"/>
              <a:gd name="connsiteX1110" fmla="*/ 2073296 w 6530564"/>
              <a:gd name="connsiteY1110" fmla="*/ 3942009 h 6858000"/>
              <a:gd name="connsiteX1111" fmla="*/ 2066735 w 6530564"/>
              <a:gd name="connsiteY1111" fmla="*/ 3940252 h 6858000"/>
              <a:gd name="connsiteX1112" fmla="*/ 2064334 w 6530564"/>
              <a:gd name="connsiteY1112" fmla="*/ 3936093 h 6858000"/>
              <a:gd name="connsiteX1113" fmla="*/ 2065212 w 6530564"/>
              <a:gd name="connsiteY1113" fmla="*/ 3932813 h 6858000"/>
              <a:gd name="connsiteX1114" fmla="*/ 2059530 w 6530564"/>
              <a:gd name="connsiteY1114" fmla="*/ 3927774 h 6858000"/>
              <a:gd name="connsiteX1115" fmla="*/ 2055670 w 6530564"/>
              <a:gd name="connsiteY1115" fmla="*/ 3863455 h 6858000"/>
              <a:gd name="connsiteX1116" fmla="*/ 2057428 w 6530564"/>
              <a:gd name="connsiteY1116" fmla="*/ 3856895 h 6858000"/>
              <a:gd name="connsiteX1117" fmla="*/ 2060708 w 6530564"/>
              <a:gd name="connsiteY1117" fmla="*/ 3857775 h 6858000"/>
              <a:gd name="connsiteX1118" fmla="*/ 2058307 w 6530564"/>
              <a:gd name="connsiteY1118" fmla="*/ 3853615 h 6858000"/>
              <a:gd name="connsiteX1119" fmla="*/ 2059185 w 6530564"/>
              <a:gd name="connsiteY1119" fmla="*/ 3850335 h 6858000"/>
              <a:gd name="connsiteX1120" fmla="*/ 2075527 w 6530564"/>
              <a:gd name="connsiteY1120" fmla="*/ 3882839 h 6858000"/>
              <a:gd name="connsiteX1121" fmla="*/ 2081274 w 6530564"/>
              <a:gd name="connsiteY1121" fmla="*/ 3919538 h 6858000"/>
              <a:gd name="connsiteX1122" fmla="*/ 2079447 w 6530564"/>
              <a:gd name="connsiteY1122" fmla="*/ 3919048 h 6858000"/>
              <a:gd name="connsiteX1123" fmla="*/ 2081850 w 6530564"/>
              <a:gd name="connsiteY1123" fmla="*/ 3923208 h 6858000"/>
              <a:gd name="connsiteX1124" fmla="*/ 2084894 w 6530564"/>
              <a:gd name="connsiteY1124" fmla="*/ 3938087 h 6858000"/>
              <a:gd name="connsiteX1125" fmla="*/ 2082492 w 6530564"/>
              <a:gd name="connsiteY1125" fmla="*/ 3933927 h 6858000"/>
              <a:gd name="connsiteX1126" fmla="*/ 2081612 w 6530564"/>
              <a:gd name="connsiteY1126" fmla="*/ 3937209 h 6858000"/>
              <a:gd name="connsiteX1127" fmla="*/ 2084015 w 6530564"/>
              <a:gd name="connsiteY1127" fmla="*/ 3941367 h 6858000"/>
              <a:gd name="connsiteX1128" fmla="*/ 2096193 w 6530564"/>
              <a:gd name="connsiteY1128" fmla="*/ 4000883 h 6858000"/>
              <a:gd name="connsiteX1129" fmla="*/ 2091155 w 6530564"/>
              <a:gd name="connsiteY1129" fmla="*/ 4006565 h 6858000"/>
              <a:gd name="connsiteX1130" fmla="*/ 2079149 w 6530564"/>
              <a:gd name="connsiteY1130" fmla="*/ 3985769 h 6858000"/>
              <a:gd name="connsiteX1131" fmla="*/ 2105093 w 6530564"/>
              <a:gd name="connsiteY1131" fmla="*/ 4059520 h 6858000"/>
              <a:gd name="connsiteX1132" fmla="*/ 2103334 w 6530564"/>
              <a:gd name="connsiteY1132" fmla="*/ 4066081 h 6858000"/>
              <a:gd name="connsiteX1133" fmla="*/ 2109017 w 6530564"/>
              <a:gd name="connsiteY1133" fmla="*/ 4071119 h 6858000"/>
              <a:gd name="connsiteX1134" fmla="*/ 2124302 w 6530564"/>
              <a:gd name="connsiteY1134" fmla="*/ 4092795 h 6858000"/>
              <a:gd name="connsiteX1135" fmla="*/ 2116863 w 6530564"/>
              <a:gd name="connsiteY1135" fmla="*/ 4094316 h 6858000"/>
              <a:gd name="connsiteX1136" fmla="*/ 2124946 w 6530564"/>
              <a:gd name="connsiteY1136" fmla="*/ 4103514 h 6858000"/>
              <a:gd name="connsiteX1137" fmla="*/ 2127347 w 6530564"/>
              <a:gd name="connsiteY1137" fmla="*/ 4107674 h 6858000"/>
              <a:gd name="connsiteX1138" fmla="*/ 2126469 w 6530564"/>
              <a:gd name="connsiteY1138" fmla="*/ 4110953 h 6858000"/>
              <a:gd name="connsiteX1139" fmla="*/ 2129749 w 6530564"/>
              <a:gd name="connsiteY1139" fmla="*/ 4111834 h 6858000"/>
              <a:gd name="connsiteX1140" fmla="*/ 2127347 w 6530564"/>
              <a:gd name="connsiteY1140" fmla="*/ 4107674 h 6858000"/>
              <a:gd name="connsiteX1141" fmla="*/ 2128226 w 6530564"/>
              <a:gd name="connsiteY1141" fmla="*/ 4104393 h 6858000"/>
              <a:gd name="connsiteX1142" fmla="*/ 2134551 w 6530564"/>
              <a:gd name="connsiteY1142" fmla="*/ 4120150 h 6858000"/>
              <a:gd name="connsiteX1143" fmla="*/ 2131272 w 6530564"/>
              <a:gd name="connsiteY1143" fmla="*/ 4119272 h 6858000"/>
              <a:gd name="connsiteX1144" fmla="*/ 2205304 w 6530564"/>
              <a:gd name="connsiteY1144" fmla="*/ 4223489 h 6858000"/>
              <a:gd name="connsiteX1145" fmla="*/ 2288534 w 6530564"/>
              <a:gd name="connsiteY1145" fmla="*/ 4319621 h 6858000"/>
              <a:gd name="connsiteX1146" fmla="*/ 2276936 w 6530564"/>
              <a:gd name="connsiteY1146" fmla="*/ 4323545 h 6858000"/>
              <a:gd name="connsiteX1147" fmla="*/ 2338554 w 6530564"/>
              <a:gd name="connsiteY1147" fmla="*/ 4382245 h 6858000"/>
              <a:gd name="connsiteX1148" fmla="*/ 2402574 w 6530564"/>
              <a:gd name="connsiteY1148" fmla="*/ 4445104 h 6858000"/>
              <a:gd name="connsiteX1149" fmla="*/ 2399295 w 6530564"/>
              <a:gd name="connsiteY1149" fmla="*/ 4444226 h 6858000"/>
              <a:gd name="connsiteX1150" fmla="*/ 2400815 w 6530564"/>
              <a:gd name="connsiteY1150" fmla="*/ 4451665 h 6858000"/>
              <a:gd name="connsiteX1151" fmla="*/ 2399937 w 6530564"/>
              <a:gd name="connsiteY1151" fmla="*/ 4454946 h 6858000"/>
              <a:gd name="connsiteX1152" fmla="*/ 2414581 w 6530564"/>
              <a:gd name="connsiteY1152" fmla="*/ 4465901 h 6858000"/>
              <a:gd name="connsiteX1153" fmla="*/ 2419383 w 6530564"/>
              <a:gd name="connsiteY1153" fmla="*/ 4474219 h 6858000"/>
              <a:gd name="connsiteX1154" fmla="*/ 2422665 w 6530564"/>
              <a:gd name="connsiteY1154" fmla="*/ 4475099 h 6858000"/>
              <a:gd name="connsiteX1155" fmla="*/ 2423543 w 6530564"/>
              <a:gd name="connsiteY1155" fmla="*/ 4471818 h 6858000"/>
              <a:gd name="connsiteX1156" fmla="*/ 2459154 w 6530564"/>
              <a:gd name="connsiteY1156" fmla="*/ 4509487 h 6858000"/>
              <a:gd name="connsiteX1157" fmla="*/ 2468994 w 6530564"/>
              <a:gd name="connsiteY1157" fmla="*/ 4512124 h 6858000"/>
              <a:gd name="connsiteX1158" fmla="*/ 2462671 w 6530564"/>
              <a:gd name="connsiteY1158" fmla="*/ 4496365 h 6858000"/>
              <a:gd name="connsiteX1159" fmla="*/ 2455230 w 6530564"/>
              <a:gd name="connsiteY1159" fmla="*/ 4497888 h 6858000"/>
              <a:gd name="connsiteX1160" fmla="*/ 2440823 w 6530564"/>
              <a:gd name="connsiteY1160" fmla="*/ 4472932 h 6858000"/>
              <a:gd name="connsiteX1161" fmla="*/ 2448905 w 6530564"/>
              <a:gd name="connsiteY1161" fmla="*/ 4482130 h 6858000"/>
              <a:gd name="connsiteX1162" fmla="*/ 2402166 w 6530564"/>
              <a:gd name="connsiteY1162" fmla="*/ 4420385 h 6858000"/>
              <a:gd name="connsiteX1163" fmla="*/ 2348865 w 6530564"/>
              <a:gd name="connsiteY1163" fmla="*/ 4356882 h 6858000"/>
              <a:gd name="connsiteX1164" fmla="*/ 2350624 w 6530564"/>
              <a:gd name="connsiteY1164" fmla="*/ 4350321 h 6858000"/>
              <a:gd name="connsiteX1165" fmla="*/ 2311324 w 6530564"/>
              <a:gd name="connsiteY1165" fmla="*/ 4287054 h 6858000"/>
              <a:gd name="connsiteX1166" fmla="*/ 2296917 w 6530564"/>
              <a:gd name="connsiteY1166" fmla="*/ 4262099 h 6858000"/>
              <a:gd name="connsiteX1167" fmla="*/ 2288833 w 6530564"/>
              <a:gd name="connsiteY1167" fmla="*/ 4252901 h 6858000"/>
              <a:gd name="connsiteX1168" fmla="*/ 2280107 w 6530564"/>
              <a:gd name="connsiteY1168" fmla="*/ 4232984 h 6858000"/>
              <a:gd name="connsiteX1169" fmla="*/ 2255216 w 6530564"/>
              <a:gd name="connsiteY1169" fmla="*/ 4194671 h 6858000"/>
              <a:gd name="connsiteX1170" fmla="*/ 2233602 w 6530564"/>
              <a:gd name="connsiteY1170" fmla="*/ 4157238 h 6858000"/>
              <a:gd name="connsiteX1171" fmla="*/ 2178608 w 6530564"/>
              <a:gd name="connsiteY1171" fmla="*/ 4047576 h 6858000"/>
              <a:gd name="connsiteX1172" fmla="*/ 2162677 w 6530564"/>
              <a:gd name="connsiteY1172" fmla="*/ 4015182 h 6858000"/>
              <a:gd name="connsiteX1173" fmla="*/ 2166837 w 6530564"/>
              <a:gd name="connsiteY1173" fmla="*/ 4012780 h 6858000"/>
              <a:gd name="connsiteX1174" fmla="*/ 2126722 w 6530564"/>
              <a:gd name="connsiteY1174" fmla="*/ 3900073 h 6858000"/>
              <a:gd name="connsiteX1175" fmla="*/ 2116473 w 6530564"/>
              <a:gd name="connsiteY1175" fmla="*/ 3872717 h 6858000"/>
              <a:gd name="connsiteX1176" fmla="*/ 2103179 w 6530564"/>
              <a:gd name="connsiteY1176" fmla="*/ 3830480 h 6858000"/>
              <a:gd name="connsiteX1177" fmla="*/ 2069451 w 6530564"/>
              <a:gd name="connsiteY1177" fmla="*/ 3680812 h 6858000"/>
              <a:gd name="connsiteX1178" fmla="*/ 2057037 w 6530564"/>
              <a:gd name="connsiteY1178" fmla="*/ 3635295 h 6858000"/>
              <a:gd name="connsiteX1179" fmla="*/ 2058794 w 6530564"/>
              <a:gd name="connsiteY1179" fmla="*/ 3628734 h 6858000"/>
              <a:gd name="connsiteX1180" fmla="*/ 2056865 w 6530564"/>
              <a:gd name="connsiteY1180" fmla="*/ 3596574 h 6858000"/>
              <a:gd name="connsiteX1181" fmla="*/ 2049896 w 6530564"/>
              <a:gd name="connsiteY1181" fmla="*/ 3570096 h 6858000"/>
              <a:gd name="connsiteX1182" fmla="*/ 2040589 w 6530564"/>
              <a:gd name="connsiteY1182" fmla="*/ 3486740 h 6858000"/>
              <a:gd name="connsiteX1183" fmla="*/ 2035615 w 6530564"/>
              <a:gd name="connsiteY1183" fmla="*/ 3439701 h 6858000"/>
              <a:gd name="connsiteX1184" fmla="*/ 2035915 w 6530564"/>
              <a:gd name="connsiteY1184" fmla="*/ 3372981 h 6858000"/>
              <a:gd name="connsiteX1185" fmla="*/ 2031990 w 6530564"/>
              <a:gd name="connsiteY1185" fmla="*/ 3361383 h 6858000"/>
              <a:gd name="connsiteX1186" fmla="*/ 2032461 w 6530564"/>
              <a:gd name="connsiteY1186" fmla="*/ 3333382 h 6858000"/>
              <a:gd name="connsiteX1187" fmla="*/ 2038849 w 6530564"/>
              <a:gd name="connsiteY1187" fmla="*/ 3296420 h 6858000"/>
              <a:gd name="connsiteX1188" fmla="*/ 2027486 w 6530564"/>
              <a:gd name="connsiteY1188" fmla="*/ 3286343 h 6858000"/>
              <a:gd name="connsiteX1189" fmla="*/ 2025321 w 6530564"/>
              <a:gd name="connsiteY1189" fmla="*/ 3268185 h 6858000"/>
              <a:gd name="connsiteX1190" fmla="*/ 2033294 w 6530564"/>
              <a:gd name="connsiteY1190" fmla="*/ 3185942 h 6858000"/>
              <a:gd name="connsiteX1191" fmla="*/ 2040090 w 6530564"/>
              <a:gd name="connsiteY1191" fmla="*/ 3173700 h 6858000"/>
              <a:gd name="connsiteX1192" fmla="*/ 2036166 w 6530564"/>
              <a:gd name="connsiteY1192" fmla="*/ 3162101 h 6858000"/>
              <a:gd name="connsiteX1193" fmla="*/ 2037046 w 6530564"/>
              <a:gd name="connsiteY1193" fmla="*/ 3158821 h 6858000"/>
              <a:gd name="connsiteX1194" fmla="*/ 2049179 w 6530564"/>
              <a:gd name="connsiteY1194" fmla="*/ 3074176 h 6858000"/>
              <a:gd name="connsiteX1195" fmla="*/ 2052459 w 6530564"/>
              <a:gd name="connsiteY1195" fmla="*/ 3075055 h 6858000"/>
              <a:gd name="connsiteX1196" fmla="*/ 2056854 w 6530564"/>
              <a:gd name="connsiteY1196" fmla="*/ 3058653 h 6858000"/>
              <a:gd name="connsiteX1197" fmla="*/ 2055566 w 6530564"/>
              <a:gd name="connsiteY1197" fmla="*/ 3037215 h 6858000"/>
              <a:gd name="connsiteX1198" fmla="*/ 2064764 w 6530564"/>
              <a:gd name="connsiteY1198" fmla="*/ 3029132 h 6858000"/>
              <a:gd name="connsiteX1199" fmla="*/ 2072911 w 6530564"/>
              <a:gd name="connsiteY1199" fmla="*/ 2985608 h 6858000"/>
              <a:gd name="connsiteX1200" fmla="*/ 2075140 w 6530564"/>
              <a:gd name="connsiteY1200" fmla="*/ 2951048 h 6858000"/>
              <a:gd name="connsiteX1201" fmla="*/ 2079298 w 6530564"/>
              <a:gd name="connsiteY1201" fmla="*/ 2948647 h 6858000"/>
              <a:gd name="connsiteX1202" fmla="*/ 2090081 w 6530564"/>
              <a:gd name="connsiteY1202" fmla="*/ 2895283 h 6858000"/>
              <a:gd name="connsiteX1203" fmla="*/ 2091816 w 6530564"/>
              <a:gd name="connsiteY1203" fmla="*/ 2888809 h 6858000"/>
              <a:gd name="connsiteX1204" fmla="*/ 2099621 w 6530564"/>
              <a:gd name="connsiteY1204" fmla="*/ 2853246 h 6858000"/>
              <a:gd name="connsiteX1205" fmla="*/ 2099985 w 6530564"/>
              <a:gd name="connsiteY1205" fmla="*/ 2845200 h 6858000"/>
              <a:gd name="connsiteX1206" fmla="*/ 2100816 w 6530564"/>
              <a:gd name="connsiteY1206" fmla="*/ 2847794 h 6858000"/>
              <a:gd name="connsiteX1207" fmla="*/ 2110855 w 6530564"/>
              <a:gd name="connsiteY1207" fmla="*/ 2802050 h 6858000"/>
              <a:gd name="connsiteX1208" fmla="*/ 2224554 w 6530564"/>
              <a:gd name="connsiteY1208" fmla="*/ 2460779 h 6858000"/>
              <a:gd name="connsiteX1209" fmla="*/ 2358682 w 6530564"/>
              <a:gd name="connsiteY1209" fmla="*/ 2205979 h 6858000"/>
              <a:gd name="connsiteX1210" fmla="*/ 6077176 w 6530564"/>
              <a:gd name="connsiteY1210" fmla="*/ 2118185 h 6858000"/>
              <a:gd name="connsiteX1211" fmla="*/ 6112507 w 6530564"/>
              <a:gd name="connsiteY1211" fmla="*/ 2169248 h 6858000"/>
              <a:gd name="connsiteX1212" fmla="*/ 6107837 w 6530564"/>
              <a:gd name="connsiteY1212" fmla="*/ 2170245 h 6858000"/>
              <a:gd name="connsiteX1213" fmla="*/ 6099173 w 6530564"/>
              <a:gd name="connsiteY1213" fmla="*/ 2152560 h 6858000"/>
              <a:gd name="connsiteX1214" fmla="*/ 6085839 w 6530564"/>
              <a:gd name="connsiteY1214" fmla="*/ 2135872 h 6858000"/>
              <a:gd name="connsiteX1215" fmla="*/ 6080171 w 6530564"/>
              <a:gd name="connsiteY1215" fmla="*/ 2132198 h 6858000"/>
              <a:gd name="connsiteX1216" fmla="*/ 6073503 w 6530564"/>
              <a:gd name="connsiteY1216" fmla="*/ 2123854 h 6858000"/>
              <a:gd name="connsiteX1217" fmla="*/ 6077176 w 6530564"/>
              <a:gd name="connsiteY1217" fmla="*/ 2118185 h 6858000"/>
              <a:gd name="connsiteX1218" fmla="*/ 2109589 w 6530564"/>
              <a:gd name="connsiteY1218" fmla="*/ 1937684 h 6858000"/>
              <a:gd name="connsiteX1219" fmla="*/ 2088831 w 6530564"/>
              <a:gd name="connsiteY1219" fmla="*/ 1976351 h 6858000"/>
              <a:gd name="connsiteX1220" fmla="*/ 2082998 w 6530564"/>
              <a:gd name="connsiteY1220" fmla="*/ 2000064 h 6858000"/>
              <a:gd name="connsiteX1221" fmla="*/ 2083339 w 6530564"/>
              <a:gd name="connsiteY1221" fmla="*/ 2004008 h 6858000"/>
              <a:gd name="connsiteX1222" fmla="*/ 2078984 w 6530564"/>
              <a:gd name="connsiteY1222" fmla="*/ 2013244 h 6858000"/>
              <a:gd name="connsiteX1223" fmla="*/ 2058996 w 6530564"/>
              <a:gd name="connsiteY1223" fmla="*/ 2033998 h 6858000"/>
              <a:gd name="connsiteX1224" fmla="*/ 2025940 w 6530564"/>
              <a:gd name="connsiteY1224" fmla="*/ 2085019 h 6858000"/>
              <a:gd name="connsiteX1225" fmla="*/ 2020588 w 6530564"/>
              <a:gd name="connsiteY1225" fmla="*/ 2105699 h 6858000"/>
              <a:gd name="connsiteX1226" fmla="*/ 2019591 w 6530564"/>
              <a:gd name="connsiteY1226" fmla="*/ 2101027 h 6858000"/>
              <a:gd name="connsiteX1227" fmla="*/ 2018592 w 6530564"/>
              <a:gd name="connsiteY1227" fmla="*/ 2096357 h 6858000"/>
              <a:gd name="connsiteX1228" fmla="*/ 2013921 w 6530564"/>
              <a:gd name="connsiteY1228" fmla="*/ 2097355 h 6858000"/>
              <a:gd name="connsiteX1229" fmla="*/ 2010248 w 6530564"/>
              <a:gd name="connsiteY1229" fmla="*/ 2103023 h 6858000"/>
              <a:gd name="connsiteX1230" fmla="*/ 2013243 w 6530564"/>
              <a:gd name="connsiteY1230" fmla="*/ 2117038 h 6858000"/>
              <a:gd name="connsiteX1231" fmla="*/ 2006894 w 6530564"/>
              <a:gd name="connsiteY1231" fmla="*/ 2133046 h 6858000"/>
              <a:gd name="connsiteX1232" fmla="*/ 1997551 w 6530564"/>
              <a:gd name="connsiteY1232" fmla="*/ 2135041 h 6858000"/>
              <a:gd name="connsiteX1233" fmla="*/ 1996554 w 6530564"/>
              <a:gd name="connsiteY1233" fmla="*/ 2130371 h 6858000"/>
              <a:gd name="connsiteX1234" fmla="*/ 1991884 w 6530564"/>
              <a:gd name="connsiteY1234" fmla="*/ 2131368 h 6858000"/>
              <a:gd name="connsiteX1235" fmla="*/ 1992881 w 6530564"/>
              <a:gd name="connsiteY1235" fmla="*/ 2136040 h 6858000"/>
              <a:gd name="connsiteX1236" fmla="*/ 1993879 w 6530564"/>
              <a:gd name="connsiteY1236" fmla="*/ 2140711 h 6858000"/>
              <a:gd name="connsiteX1237" fmla="*/ 1991204 w 6530564"/>
              <a:gd name="connsiteY1237" fmla="*/ 2151051 h 6858000"/>
              <a:gd name="connsiteX1238" fmla="*/ 1987531 w 6530564"/>
              <a:gd name="connsiteY1238" fmla="*/ 2156719 h 6858000"/>
              <a:gd name="connsiteX1239" fmla="*/ 1982860 w 6530564"/>
              <a:gd name="connsiteY1239" fmla="*/ 2157718 h 6858000"/>
              <a:gd name="connsiteX1240" fmla="*/ 1979187 w 6530564"/>
              <a:gd name="connsiteY1240" fmla="*/ 2163386 h 6858000"/>
              <a:gd name="connsiteX1241" fmla="*/ 1983857 w 6530564"/>
              <a:gd name="connsiteY1241" fmla="*/ 2162388 h 6858000"/>
              <a:gd name="connsiteX1242" fmla="*/ 1980184 w 6530564"/>
              <a:gd name="connsiteY1242" fmla="*/ 2168057 h 6858000"/>
              <a:gd name="connsiteX1243" fmla="*/ 1939781 w 6530564"/>
              <a:gd name="connsiteY1243" fmla="*/ 2230416 h 6858000"/>
              <a:gd name="connsiteX1244" fmla="*/ 1935109 w 6530564"/>
              <a:gd name="connsiteY1244" fmla="*/ 2231414 h 6858000"/>
              <a:gd name="connsiteX1245" fmla="*/ 1936107 w 6530564"/>
              <a:gd name="connsiteY1245" fmla="*/ 2236085 h 6858000"/>
              <a:gd name="connsiteX1246" fmla="*/ 1932434 w 6530564"/>
              <a:gd name="connsiteY1246" fmla="*/ 2241754 h 6858000"/>
              <a:gd name="connsiteX1247" fmla="*/ 1933433 w 6530564"/>
              <a:gd name="connsiteY1247" fmla="*/ 2246425 h 6858000"/>
              <a:gd name="connsiteX1248" fmla="*/ 1926765 w 6530564"/>
              <a:gd name="connsiteY1248" fmla="*/ 2238080 h 6858000"/>
              <a:gd name="connsiteX1249" fmla="*/ 1912072 w 6530564"/>
              <a:gd name="connsiteY1249" fmla="*/ 2260756 h 6858000"/>
              <a:gd name="connsiteX1250" fmla="*/ 1907402 w 6530564"/>
              <a:gd name="connsiteY1250" fmla="*/ 2261755 h 6858000"/>
              <a:gd name="connsiteX1251" fmla="*/ 1905146 w 6530564"/>
              <a:gd name="connsiteY1251" fmla="*/ 2259025 h 6858000"/>
              <a:gd name="connsiteX1252" fmla="*/ 1906944 w 6530564"/>
              <a:gd name="connsiteY1252" fmla="*/ 2256251 h 6858000"/>
              <a:gd name="connsiteX1253" fmla="*/ 1908825 w 6530564"/>
              <a:gd name="connsiteY1253" fmla="*/ 2254124 h 6858000"/>
              <a:gd name="connsiteX1254" fmla="*/ 1913750 w 6530564"/>
              <a:gd name="connsiteY1254" fmla="*/ 2245744 h 6858000"/>
              <a:gd name="connsiteX1255" fmla="*/ 1906944 w 6530564"/>
              <a:gd name="connsiteY1255" fmla="*/ 2256251 h 6858000"/>
              <a:gd name="connsiteX1256" fmla="*/ 1904828 w 6530564"/>
              <a:gd name="connsiteY1256" fmla="*/ 2258642 h 6858000"/>
              <a:gd name="connsiteX1257" fmla="*/ 1905146 w 6530564"/>
              <a:gd name="connsiteY1257" fmla="*/ 2259025 h 6858000"/>
              <a:gd name="connsiteX1258" fmla="*/ 1888038 w 6530564"/>
              <a:gd name="connsiteY1258" fmla="*/ 2285428 h 6858000"/>
              <a:gd name="connsiteX1259" fmla="*/ 1869672 w 6530564"/>
              <a:gd name="connsiteY1259" fmla="*/ 2313773 h 6858000"/>
              <a:gd name="connsiteX1260" fmla="*/ 1855978 w 6530564"/>
              <a:gd name="connsiteY1260" fmla="*/ 2341119 h 6858000"/>
              <a:gd name="connsiteX1261" fmla="*/ 1822921 w 6530564"/>
              <a:gd name="connsiteY1261" fmla="*/ 2392140 h 6858000"/>
              <a:gd name="connsiteX1262" fmla="*/ 1816572 w 6530564"/>
              <a:gd name="connsiteY1262" fmla="*/ 2408148 h 6858000"/>
              <a:gd name="connsiteX1263" fmla="*/ 1808228 w 6530564"/>
              <a:gd name="connsiteY1263" fmla="*/ 2414816 h 6858000"/>
              <a:gd name="connsiteX1264" fmla="*/ 1804555 w 6530564"/>
              <a:gd name="connsiteY1264" fmla="*/ 2420484 h 6858000"/>
              <a:gd name="connsiteX1265" fmla="*/ 1794533 w 6530564"/>
              <a:gd name="connsiteY1265" fmla="*/ 2442162 h 6858000"/>
              <a:gd name="connsiteX1266" fmla="*/ 1788184 w 6530564"/>
              <a:gd name="connsiteY1266" fmla="*/ 2458170 h 6858000"/>
              <a:gd name="connsiteX1267" fmla="*/ 1777165 w 6530564"/>
              <a:gd name="connsiteY1267" fmla="*/ 2475180 h 6858000"/>
              <a:gd name="connsiteX1268" fmla="*/ 1685658 w 6530564"/>
              <a:gd name="connsiteY1268" fmla="*/ 2641254 h 6858000"/>
              <a:gd name="connsiteX1269" fmla="*/ 1682599 w 6530564"/>
              <a:gd name="connsiteY1269" fmla="*/ 2641908 h 6858000"/>
              <a:gd name="connsiteX1270" fmla="*/ 1683636 w 6530564"/>
              <a:gd name="connsiteY1270" fmla="*/ 2638298 h 6858000"/>
              <a:gd name="connsiteX1271" fmla="*/ 1750713 w 6530564"/>
              <a:gd name="connsiteY1271" fmla="*/ 2461519 h 6858000"/>
              <a:gd name="connsiteX1272" fmla="*/ 1758144 w 6530564"/>
              <a:gd name="connsiteY1272" fmla="*/ 2444367 h 6858000"/>
              <a:gd name="connsiteX1273" fmla="*/ 1761837 w 6530564"/>
              <a:gd name="connsiteY1273" fmla="*/ 2449148 h 6858000"/>
              <a:gd name="connsiteX1274" fmla="*/ 1764852 w 6530564"/>
              <a:gd name="connsiteY1274" fmla="*/ 2429816 h 6858000"/>
              <a:gd name="connsiteX1275" fmla="*/ 1770123 w 6530564"/>
              <a:gd name="connsiteY1275" fmla="*/ 2418679 h 6858000"/>
              <a:gd name="connsiteX1276" fmla="*/ 1773535 w 6530564"/>
              <a:gd name="connsiteY1276" fmla="*/ 2412460 h 6858000"/>
              <a:gd name="connsiteX1277" fmla="*/ 1778206 w 6530564"/>
              <a:gd name="connsiteY1277" fmla="*/ 2411463 h 6858000"/>
              <a:gd name="connsiteX1278" fmla="*/ 1779045 w 6530564"/>
              <a:gd name="connsiteY1278" fmla="*/ 2403956 h 6858000"/>
              <a:gd name="connsiteX1279" fmla="*/ 1779650 w 6530564"/>
              <a:gd name="connsiteY1279" fmla="*/ 2398547 h 6858000"/>
              <a:gd name="connsiteX1280" fmla="*/ 1780549 w 6530564"/>
              <a:gd name="connsiteY1280" fmla="*/ 2396643 h 6858000"/>
              <a:gd name="connsiteX1281" fmla="*/ 1783219 w 6530564"/>
              <a:gd name="connsiteY1281" fmla="*/ 2397418 h 6858000"/>
              <a:gd name="connsiteX1282" fmla="*/ 1798250 w 6530564"/>
              <a:gd name="connsiteY1282" fmla="*/ 2368106 h 6858000"/>
              <a:gd name="connsiteX1283" fmla="*/ 1818610 w 6530564"/>
              <a:gd name="connsiteY1283" fmla="*/ 2349103 h 6858000"/>
              <a:gd name="connsiteX1284" fmla="*/ 1881733 w 6530564"/>
              <a:gd name="connsiteY1284" fmla="*/ 2233049 h 6858000"/>
              <a:gd name="connsiteX1285" fmla="*/ 1896425 w 6530564"/>
              <a:gd name="connsiteY1285" fmla="*/ 2210374 h 6858000"/>
              <a:gd name="connsiteX1286" fmla="*/ 1991246 w 6530564"/>
              <a:gd name="connsiteY1286" fmla="*/ 2082662 h 6858000"/>
              <a:gd name="connsiteX1287" fmla="*/ 2014282 w 6530564"/>
              <a:gd name="connsiteY1287" fmla="*/ 2053319 h 6858000"/>
              <a:gd name="connsiteX1288" fmla="*/ 2013284 w 6530564"/>
              <a:gd name="connsiteY1288" fmla="*/ 2048648 h 6858000"/>
              <a:gd name="connsiteX1289" fmla="*/ 2018954 w 6530564"/>
              <a:gd name="connsiteY1289" fmla="*/ 2052322 h 6858000"/>
              <a:gd name="connsiteX1290" fmla="*/ 2026300 w 6530564"/>
              <a:gd name="connsiteY1290" fmla="*/ 2040983 h 6858000"/>
              <a:gd name="connsiteX1291" fmla="*/ 2029972 w 6530564"/>
              <a:gd name="connsiteY1291" fmla="*/ 2035316 h 6858000"/>
              <a:gd name="connsiteX1292" fmla="*/ 2025302 w 6530564"/>
              <a:gd name="connsiteY1292" fmla="*/ 2036313 h 6858000"/>
              <a:gd name="connsiteX1293" fmla="*/ 2079719 w 6530564"/>
              <a:gd name="connsiteY1293" fmla="*/ 1970960 h 6858000"/>
              <a:gd name="connsiteX1294" fmla="*/ 2104808 w 6530564"/>
              <a:gd name="connsiteY1294" fmla="*/ 1943012 h 6858000"/>
              <a:gd name="connsiteX1295" fmla="*/ 5856125 w 6530564"/>
              <a:gd name="connsiteY1295" fmla="*/ 1563605 h 6858000"/>
              <a:gd name="connsiteX1296" fmla="*/ 5862009 w 6530564"/>
              <a:gd name="connsiteY1296" fmla="*/ 1568282 h 6858000"/>
              <a:gd name="connsiteX1297" fmla="*/ 5856339 w 6530564"/>
              <a:gd name="connsiteY1297" fmla="*/ 1564609 h 6858000"/>
              <a:gd name="connsiteX1298" fmla="*/ 5246583 w 6530564"/>
              <a:gd name="connsiteY1298" fmla="*/ 1522365 h 6858000"/>
              <a:gd name="connsiteX1299" fmla="*/ 5292976 w 6530564"/>
              <a:gd name="connsiteY1299" fmla="*/ 1557270 h 6858000"/>
              <a:gd name="connsiteX1300" fmla="*/ 5381981 w 6530564"/>
              <a:gd name="connsiteY1300" fmla="*/ 1629688 h 6858000"/>
              <a:gd name="connsiteX1301" fmla="*/ 5378789 w 6530564"/>
              <a:gd name="connsiteY1301" fmla="*/ 1629103 h 6858000"/>
              <a:gd name="connsiteX1302" fmla="*/ 5369212 w 6530564"/>
              <a:gd name="connsiteY1302" fmla="*/ 1627347 h 6858000"/>
              <a:gd name="connsiteX1303" fmla="*/ 5375011 w 6530564"/>
              <a:gd name="connsiteY1303" fmla="*/ 1631710 h 6858000"/>
              <a:gd name="connsiteX1304" fmla="*/ 5272066 w 6530564"/>
              <a:gd name="connsiteY1304" fmla="*/ 1563336 h 6858000"/>
              <a:gd name="connsiteX1305" fmla="*/ 5204180 w 6530564"/>
              <a:gd name="connsiteY1305" fmla="*/ 1537692 h 6858000"/>
              <a:gd name="connsiteX1306" fmla="*/ 5381927 w 6530564"/>
              <a:gd name="connsiteY1306" fmla="*/ 1665979 h 6858000"/>
              <a:gd name="connsiteX1307" fmla="*/ 5437310 w 6530564"/>
              <a:gd name="connsiteY1307" fmla="*/ 1705833 h 6858000"/>
              <a:gd name="connsiteX1308" fmla="*/ 5428584 w 6530564"/>
              <a:gd name="connsiteY1308" fmla="*/ 1717433 h 6858000"/>
              <a:gd name="connsiteX1309" fmla="*/ 5445982 w 6530564"/>
              <a:gd name="connsiteY1309" fmla="*/ 1730522 h 6858000"/>
              <a:gd name="connsiteX1310" fmla="*/ 5454121 w 6530564"/>
              <a:gd name="connsiteY1310" fmla="*/ 1722114 h 6858000"/>
              <a:gd name="connsiteX1311" fmla="*/ 5545149 w 6530564"/>
              <a:gd name="connsiteY1311" fmla="*/ 1801503 h 6858000"/>
              <a:gd name="connsiteX1312" fmla="*/ 5589201 w 6530564"/>
              <a:gd name="connsiteY1312" fmla="*/ 1849179 h 6858000"/>
              <a:gd name="connsiteX1313" fmla="*/ 5635857 w 6530564"/>
              <a:gd name="connsiteY1313" fmla="*/ 1900633 h 6858000"/>
              <a:gd name="connsiteX1314" fmla="*/ 5617876 w 6530564"/>
              <a:gd name="connsiteY1314" fmla="*/ 1890738 h 6858000"/>
              <a:gd name="connsiteX1315" fmla="*/ 5616705 w 6530564"/>
              <a:gd name="connsiteY1315" fmla="*/ 1897123 h 6858000"/>
              <a:gd name="connsiteX1316" fmla="*/ 5652350 w 6530564"/>
              <a:gd name="connsiteY1316" fmla="*/ 1936657 h 6858000"/>
              <a:gd name="connsiteX1317" fmla="*/ 5661340 w 6530564"/>
              <a:gd name="connsiteY1317" fmla="*/ 1941605 h 6858000"/>
              <a:gd name="connsiteX1318" fmla="*/ 5666874 w 6530564"/>
              <a:gd name="connsiteY1318" fmla="*/ 1929420 h 6858000"/>
              <a:gd name="connsiteX1319" fmla="*/ 5707147 w 6530564"/>
              <a:gd name="connsiteY1319" fmla="*/ 1979705 h 6858000"/>
              <a:gd name="connsiteX1320" fmla="*/ 5756412 w 6530564"/>
              <a:gd name="connsiteY1320" fmla="*/ 2034937 h 6858000"/>
              <a:gd name="connsiteX1321" fmla="*/ 5762795 w 6530564"/>
              <a:gd name="connsiteY1321" fmla="*/ 2036107 h 6858000"/>
              <a:gd name="connsiteX1322" fmla="*/ 5789449 w 6530564"/>
              <a:gd name="connsiteY1322" fmla="*/ 2070695 h 6858000"/>
              <a:gd name="connsiteX1323" fmla="*/ 5808283 w 6530564"/>
              <a:gd name="connsiteY1323" fmla="*/ 2093948 h 6858000"/>
              <a:gd name="connsiteX1324" fmla="*/ 5910535 w 6530564"/>
              <a:gd name="connsiteY1324" fmla="*/ 2238094 h 6858000"/>
              <a:gd name="connsiteX1325" fmla="*/ 5924153 w 6530564"/>
              <a:gd name="connsiteY1325" fmla="*/ 2253791 h 6858000"/>
              <a:gd name="connsiteX1326" fmla="*/ 5927611 w 6530564"/>
              <a:gd name="connsiteY1326" fmla="*/ 2270927 h 6858000"/>
              <a:gd name="connsiteX1327" fmla="*/ 5904415 w 6530564"/>
              <a:gd name="connsiteY1327" fmla="*/ 2253473 h 6858000"/>
              <a:gd name="connsiteX1328" fmla="*/ 5924685 w 6530564"/>
              <a:gd name="connsiteY1328" fmla="*/ 2286890 h 6858000"/>
              <a:gd name="connsiteX1329" fmla="*/ 5949317 w 6530564"/>
              <a:gd name="connsiteY1329" fmla="*/ 2314506 h 6858000"/>
              <a:gd name="connsiteX1330" fmla="*/ 5949051 w 6530564"/>
              <a:gd name="connsiteY1330" fmla="*/ 2297957 h 6858000"/>
              <a:gd name="connsiteX1331" fmla="*/ 5958042 w 6530564"/>
              <a:gd name="connsiteY1331" fmla="*/ 2302905 h 6858000"/>
              <a:gd name="connsiteX1332" fmla="*/ 5967621 w 6530564"/>
              <a:gd name="connsiteY1332" fmla="*/ 2304661 h 6858000"/>
              <a:gd name="connsiteX1333" fmla="*/ 5965012 w 6530564"/>
              <a:gd name="connsiteY1333" fmla="*/ 2300883 h 6858000"/>
              <a:gd name="connsiteX1334" fmla="*/ 5964427 w 6530564"/>
              <a:gd name="connsiteY1334" fmla="*/ 2304075 h 6858000"/>
              <a:gd name="connsiteX1335" fmla="*/ 5963841 w 6530564"/>
              <a:gd name="connsiteY1335" fmla="*/ 2307269 h 6858000"/>
              <a:gd name="connsiteX1336" fmla="*/ 5969641 w 6530564"/>
              <a:gd name="connsiteY1336" fmla="*/ 2311632 h 6858000"/>
              <a:gd name="connsiteX1337" fmla="*/ 5982091 w 6530564"/>
              <a:gd name="connsiteY1337" fmla="*/ 2333714 h 6858000"/>
              <a:gd name="connsiteX1338" fmla="*/ 5987303 w 6530564"/>
              <a:gd name="connsiteY1338" fmla="*/ 2341270 h 6858000"/>
              <a:gd name="connsiteX1339" fmla="*/ 5985281 w 6530564"/>
              <a:gd name="connsiteY1339" fmla="*/ 2334300 h 6858000"/>
              <a:gd name="connsiteX1340" fmla="*/ 5985867 w 6530564"/>
              <a:gd name="connsiteY1340" fmla="*/ 2331106 h 6858000"/>
              <a:gd name="connsiteX1341" fmla="*/ 6031034 w 6530564"/>
              <a:gd name="connsiteY1341" fmla="*/ 2408688 h 6858000"/>
              <a:gd name="connsiteX1342" fmla="*/ 6004061 w 6530564"/>
              <a:gd name="connsiteY1342" fmla="*/ 2393843 h 6858000"/>
              <a:gd name="connsiteX1343" fmla="*/ 6004326 w 6530564"/>
              <a:gd name="connsiteY1343" fmla="*/ 2410392 h 6858000"/>
              <a:gd name="connsiteX1344" fmla="*/ 6026031 w 6530564"/>
              <a:gd name="connsiteY1344" fmla="*/ 2453972 h 6858000"/>
              <a:gd name="connsiteX1345" fmla="*/ 6029808 w 6530564"/>
              <a:gd name="connsiteY1345" fmla="*/ 2451365 h 6858000"/>
              <a:gd name="connsiteX1346" fmla="*/ 6047737 w 6530564"/>
              <a:gd name="connsiteY1346" fmla="*/ 2497552 h 6858000"/>
              <a:gd name="connsiteX1347" fmla="*/ 6086519 w 6530564"/>
              <a:gd name="connsiteY1347" fmla="*/ 2573962 h 6858000"/>
              <a:gd name="connsiteX1348" fmla="*/ 6082156 w 6530564"/>
              <a:gd name="connsiteY1348" fmla="*/ 2579763 h 6858000"/>
              <a:gd name="connsiteX1349" fmla="*/ 6113651 w 6530564"/>
              <a:gd name="connsiteY1349" fmla="*/ 2677937 h 6858000"/>
              <a:gd name="connsiteX1350" fmla="*/ 6143121 w 6530564"/>
              <a:gd name="connsiteY1350" fmla="*/ 2769142 h 6858000"/>
              <a:gd name="connsiteX1351" fmla="*/ 6149507 w 6530564"/>
              <a:gd name="connsiteY1351" fmla="*/ 2770313 h 6858000"/>
              <a:gd name="connsiteX1352" fmla="*/ 6151794 w 6530564"/>
              <a:gd name="connsiteY1352" fmla="*/ 2793831 h 6858000"/>
              <a:gd name="connsiteX1353" fmla="*/ 6172593 w 6530564"/>
              <a:gd name="connsiteY1353" fmla="*/ 2860346 h 6858000"/>
              <a:gd name="connsiteX1354" fmla="*/ 6171103 w 6530564"/>
              <a:gd name="connsiteY1354" fmla="*/ 2886473 h 6858000"/>
              <a:gd name="connsiteX1355" fmla="*/ 6180041 w 6530564"/>
              <a:gd name="connsiteY1355" fmla="*/ 2927712 h 6858000"/>
              <a:gd name="connsiteX1356" fmla="*/ 6193340 w 6530564"/>
              <a:gd name="connsiteY1356" fmla="*/ 2963151 h 6858000"/>
              <a:gd name="connsiteX1357" fmla="*/ 6188501 w 6530564"/>
              <a:gd name="connsiteY1357" fmla="*/ 2899562 h 6858000"/>
              <a:gd name="connsiteX1358" fmla="*/ 6168869 w 6530564"/>
              <a:gd name="connsiteY1358" fmla="*/ 2826663 h 6858000"/>
              <a:gd name="connsiteX1359" fmla="*/ 6165413 w 6530564"/>
              <a:gd name="connsiteY1359" fmla="*/ 2809528 h 6858000"/>
              <a:gd name="connsiteX1360" fmla="*/ 6141209 w 6530564"/>
              <a:gd name="connsiteY1360" fmla="*/ 2689590 h 6858000"/>
              <a:gd name="connsiteX1361" fmla="*/ 6069763 w 6530564"/>
              <a:gd name="connsiteY1361" fmla="*/ 2521391 h 6858000"/>
              <a:gd name="connsiteX1362" fmla="*/ 6075882 w 6530564"/>
              <a:gd name="connsiteY1362" fmla="*/ 2506011 h 6858000"/>
              <a:gd name="connsiteX1363" fmla="*/ 6059974 w 6530564"/>
              <a:gd name="connsiteY1363" fmla="*/ 2466794 h 6858000"/>
              <a:gd name="connsiteX1364" fmla="*/ 6062581 w 6530564"/>
              <a:gd name="connsiteY1364" fmla="*/ 2470572 h 6858000"/>
              <a:gd name="connsiteX1365" fmla="*/ 6065188 w 6530564"/>
              <a:gd name="connsiteY1365" fmla="*/ 2474350 h 6858000"/>
              <a:gd name="connsiteX1366" fmla="*/ 6063167 w 6530564"/>
              <a:gd name="connsiteY1366" fmla="*/ 2467380 h 6858000"/>
              <a:gd name="connsiteX1367" fmla="*/ 6060559 w 6530564"/>
              <a:gd name="connsiteY1367" fmla="*/ 2463602 h 6858000"/>
              <a:gd name="connsiteX1368" fmla="*/ 6061145 w 6530564"/>
              <a:gd name="connsiteY1368" fmla="*/ 2460410 h 6858000"/>
              <a:gd name="connsiteX1369" fmla="*/ 6030769 w 6530564"/>
              <a:gd name="connsiteY1369" fmla="*/ 2392138 h 6858000"/>
              <a:gd name="connsiteX1370" fmla="*/ 5967939 w 6530564"/>
              <a:gd name="connsiteY1370" fmla="*/ 2284919 h 6858000"/>
              <a:gd name="connsiteX1371" fmla="*/ 5950861 w 6530564"/>
              <a:gd name="connsiteY1371" fmla="*/ 2252088 h 6858000"/>
              <a:gd name="connsiteX1372" fmla="*/ 5874678 w 6530564"/>
              <a:gd name="connsiteY1372" fmla="*/ 2145720 h 6858000"/>
              <a:gd name="connsiteX1373" fmla="*/ 5862229 w 6530564"/>
              <a:gd name="connsiteY1373" fmla="*/ 2123637 h 6858000"/>
              <a:gd name="connsiteX1374" fmla="*/ 5864835 w 6530564"/>
              <a:gd name="connsiteY1374" fmla="*/ 2127414 h 6858000"/>
              <a:gd name="connsiteX1375" fmla="*/ 5868028 w 6530564"/>
              <a:gd name="connsiteY1375" fmla="*/ 2128001 h 6858000"/>
              <a:gd name="connsiteX1376" fmla="*/ 5862814 w 6530564"/>
              <a:gd name="connsiteY1376" fmla="*/ 2120444 h 6858000"/>
              <a:gd name="connsiteX1377" fmla="*/ 5860207 w 6530564"/>
              <a:gd name="connsiteY1377" fmla="*/ 2116666 h 6858000"/>
              <a:gd name="connsiteX1378" fmla="*/ 5888031 w 6530564"/>
              <a:gd name="connsiteY1378" fmla="*/ 2144868 h 6858000"/>
              <a:gd name="connsiteX1379" fmla="*/ 5876167 w 6530564"/>
              <a:gd name="connsiteY1379" fmla="*/ 2119593 h 6858000"/>
              <a:gd name="connsiteX1380" fmla="*/ 5879361 w 6530564"/>
              <a:gd name="connsiteY1380" fmla="*/ 2120179 h 6858000"/>
              <a:gd name="connsiteX1381" fmla="*/ 5881968 w 6530564"/>
              <a:gd name="connsiteY1381" fmla="*/ 2123955 h 6858000"/>
              <a:gd name="connsiteX1382" fmla="*/ 5879947 w 6530564"/>
              <a:gd name="connsiteY1382" fmla="*/ 2116985 h 6858000"/>
              <a:gd name="connsiteX1383" fmla="*/ 5877339 w 6530564"/>
              <a:gd name="connsiteY1383" fmla="*/ 2113207 h 6858000"/>
              <a:gd name="connsiteX1384" fmla="*/ 5888937 w 6530564"/>
              <a:gd name="connsiteY1384" fmla="*/ 2121935 h 6858000"/>
              <a:gd name="connsiteX1385" fmla="*/ 5847227 w 6530564"/>
              <a:gd name="connsiteY1385" fmla="*/ 2061487 h 6858000"/>
              <a:gd name="connsiteX1386" fmla="*/ 5815626 w 6530564"/>
              <a:gd name="connsiteY1386" fmla="*/ 2035893 h 6858000"/>
              <a:gd name="connsiteX1387" fmla="*/ 5813019 w 6530564"/>
              <a:gd name="connsiteY1387" fmla="*/ 2032114 h 6858000"/>
              <a:gd name="connsiteX1388" fmla="*/ 5807807 w 6530564"/>
              <a:gd name="connsiteY1388" fmla="*/ 2024558 h 6858000"/>
              <a:gd name="connsiteX1389" fmla="*/ 5807219 w 6530564"/>
              <a:gd name="connsiteY1389" fmla="*/ 2027751 h 6858000"/>
              <a:gd name="connsiteX1390" fmla="*/ 5809827 w 6530564"/>
              <a:gd name="connsiteY1390" fmla="*/ 2031530 h 6858000"/>
              <a:gd name="connsiteX1391" fmla="*/ 5792431 w 6530564"/>
              <a:gd name="connsiteY1391" fmla="*/ 2018439 h 6858000"/>
              <a:gd name="connsiteX1392" fmla="*/ 5778490 w 6530564"/>
              <a:gd name="connsiteY1392" fmla="*/ 2022486 h 6858000"/>
              <a:gd name="connsiteX1393" fmla="*/ 5713585 w 6530564"/>
              <a:gd name="connsiteY1393" fmla="*/ 1944585 h 6858000"/>
              <a:gd name="connsiteX1394" fmla="*/ 5693582 w 6530564"/>
              <a:gd name="connsiteY1394" fmla="*/ 1927717 h 6858000"/>
              <a:gd name="connsiteX1395" fmla="*/ 5602288 w 6530564"/>
              <a:gd name="connsiteY1395" fmla="*/ 1831780 h 6858000"/>
              <a:gd name="connsiteX1396" fmla="*/ 5510410 w 6530564"/>
              <a:gd name="connsiteY1396" fmla="*/ 1739034 h 6858000"/>
              <a:gd name="connsiteX1397" fmla="*/ 5513601 w 6530564"/>
              <a:gd name="connsiteY1397" fmla="*/ 1739619 h 6858000"/>
              <a:gd name="connsiteX1398" fmla="*/ 5519401 w 6530564"/>
              <a:gd name="connsiteY1398" fmla="*/ 1743982 h 6858000"/>
              <a:gd name="connsiteX1399" fmla="*/ 5514187 w 6530564"/>
              <a:gd name="connsiteY1399" fmla="*/ 1736427 h 6858000"/>
              <a:gd name="connsiteX1400" fmla="*/ 5508389 w 6530564"/>
              <a:gd name="connsiteY1400" fmla="*/ 1732064 h 6858000"/>
              <a:gd name="connsiteX1401" fmla="*/ 5514771 w 6530564"/>
              <a:gd name="connsiteY1401" fmla="*/ 1733234 h 6858000"/>
              <a:gd name="connsiteX1402" fmla="*/ 5602607 w 6530564"/>
              <a:gd name="connsiteY1402" fmla="*/ 1812037 h 6858000"/>
              <a:gd name="connsiteX1403" fmla="*/ 5604365 w 6530564"/>
              <a:gd name="connsiteY1403" fmla="*/ 1802460 h 6858000"/>
              <a:gd name="connsiteX1404" fmla="*/ 5577975 w 6530564"/>
              <a:gd name="connsiteY1404" fmla="*/ 1784421 h 6858000"/>
              <a:gd name="connsiteX1405" fmla="*/ 5541747 w 6530564"/>
              <a:gd name="connsiteY1405" fmla="*/ 1748079 h 6858000"/>
              <a:gd name="connsiteX1406" fmla="*/ 5413903 w 6530564"/>
              <a:gd name="connsiteY1406" fmla="*/ 1635540 h 6858000"/>
              <a:gd name="connsiteX1407" fmla="*/ 5399113 w 6530564"/>
              <a:gd name="connsiteY1407" fmla="*/ 1626229 h 6858000"/>
              <a:gd name="connsiteX1408" fmla="*/ 5340536 w 6530564"/>
              <a:gd name="connsiteY1408" fmla="*/ 1585789 h 6858000"/>
              <a:gd name="connsiteX1409" fmla="*/ 5336494 w 6530564"/>
              <a:gd name="connsiteY1409" fmla="*/ 1571849 h 6858000"/>
              <a:gd name="connsiteX1410" fmla="*/ 5305744 w 6530564"/>
              <a:gd name="connsiteY1410" fmla="*/ 1559611 h 6858000"/>
              <a:gd name="connsiteX1411" fmla="*/ 5312713 w 6530564"/>
              <a:gd name="connsiteY1411" fmla="*/ 1557588 h 6858000"/>
              <a:gd name="connsiteX1412" fmla="*/ 5246583 w 6530564"/>
              <a:gd name="connsiteY1412" fmla="*/ 1522365 h 6858000"/>
              <a:gd name="connsiteX1413" fmla="*/ 4878235 w 6530564"/>
              <a:gd name="connsiteY1413" fmla="*/ 1485529 h 6858000"/>
              <a:gd name="connsiteX1414" fmla="*/ 4870589 w 6530564"/>
              <a:gd name="connsiteY1414" fmla="*/ 1490232 h 6858000"/>
              <a:gd name="connsiteX1415" fmla="*/ 4876107 w 6530564"/>
              <a:gd name="connsiteY1415" fmla="*/ 1507769 h 6858000"/>
              <a:gd name="connsiteX1416" fmla="*/ 4892523 w 6530564"/>
              <a:gd name="connsiteY1416" fmla="*/ 1528225 h 6858000"/>
              <a:gd name="connsiteX1417" fmla="*/ 4854485 w 6530564"/>
              <a:gd name="connsiteY1417" fmla="*/ 1513109 h 6858000"/>
              <a:gd name="connsiteX1418" fmla="*/ 4906663 w 6530564"/>
              <a:gd name="connsiteY1418" fmla="*/ 1538241 h 6858000"/>
              <a:gd name="connsiteX1419" fmla="*/ 5219949 w 6530564"/>
              <a:gd name="connsiteY1419" fmla="*/ 1757355 h 6858000"/>
              <a:gd name="connsiteX1420" fmla="*/ 5244849 w 6530564"/>
              <a:gd name="connsiteY1420" fmla="*/ 1781311 h 6858000"/>
              <a:gd name="connsiteX1421" fmla="*/ 5285425 w 6530564"/>
              <a:gd name="connsiteY1421" fmla="*/ 1812833 h 6858000"/>
              <a:gd name="connsiteX1422" fmla="*/ 5422531 w 6530564"/>
              <a:gd name="connsiteY1422" fmla="*/ 1941767 h 6858000"/>
              <a:gd name="connsiteX1423" fmla="*/ 5427783 w 6530564"/>
              <a:gd name="connsiteY1423" fmla="*/ 1954854 h 6858000"/>
              <a:gd name="connsiteX1424" fmla="*/ 5370401 w 6530564"/>
              <a:gd name="connsiteY1424" fmla="*/ 1904986 h 6858000"/>
              <a:gd name="connsiteX1425" fmla="*/ 5481735 w 6530564"/>
              <a:gd name="connsiteY1425" fmla="*/ 2036160 h 6858000"/>
              <a:gd name="connsiteX1426" fmla="*/ 5639099 w 6530564"/>
              <a:gd name="connsiteY1426" fmla="*/ 2260841 h 6858000"/>
              <a:gd name="connsiteX1427" fmla="*/ 5880519 w 6530564"/>
              <a:gd name="connsiteY1427" fmla="*/ 2928041 h 6858000"/>
              <a:gd name="connsiteX1428" fmla="*/ 5891569 w 6530564"/>
              <a:gd name="connsiteY1428" fmla="*/ 2991409 h 6858000"/>
              <a:gd name="connsiteX1429" fmla="*/ 5898861 w 6530564"/>
              <a:gd name="connsiteY1429" fmla="*/ 3009164 h 6858000"/>
              <a:gd name="connsiteX1430" fmla="*/ 5902123 w 6530564"/>
              <a:gd name="connsiteY1430" fmla="*/ 3033759 h 6858000"/>
              <a:gd name="connsiteX1431" fmla="*/ 5917520 w 6530564"/>
              <a:gd name="connsiteY1431" fmla="*/ 3250562 h 6858000"/>
              <a:gd name="connsiteX1432" fmla="*/ 5916015 w 6530564"/>
              <a:gd name="connsiteY1432" fmla="*/ 3270366 h 6858000"/>
              <a:gd name="connsiteX1433" fmla="*/ 5917712 w 6530564"/>
              <a:gd name="connsiteY1433" fmla="*/ 3301456 h 6858000"/>
              <a:gd name="connsiteX1434" fmla="*/ 5917722 w 6530564"/>
              <a:gd name="connsiteY1434" fmla="*/ 3321050 h 6858000"/>
              <a:gd name="connsiteX1435" fmla="*/ 5920837 w 6530564"/>
              <a:gd name="connsiteY1435" fmla="*/ 3319470 h 6858000"/>
              <a:gd name="connsiteX1436" fmla="*/ 5938043 w 6530564"/>
              <a:gd name="connsiteY1436" fmla="*/ 3297393 h 6858000"/>
              <a:gd name="connsiteX1437" fmla="*/ 5940465 w 6530564"/>
              <a:gd name="connsiteY1437" fmla="*/ 3397310 h 6858000"/>
              <a:gd name="connsiteX1438" fmla="*/ 5799700 w 6530564"/>
              <a:gd name="connsiteY1438" fmla="*/ 4058849 h 6858000"/>
              <a:gd name="connsiteX1439" fmla="*/ 5565591 w 6530564"/>
              <a:gd name="connsiteY1439" fmla="*/ 4474942 h 6858000"/>
              <a:gd name="connsiteX1440" fmla="*/ 5478169 w 6530564"/>
              <a:gd name="connsiteY1440" fmla="*/ 4588742 h 6858000"/>
              <a:gd name="connsiteX1441" fmla="*/ 5480671 w 6530564"/>
              <a:gd name="connsiteY1441" fmla="*/ 4622988 h 6858000"/>
              <a:gd name="connsiteX1442" fmla="*/ 5508667 w 6530564"/>
              <a:gd name="connsiteY1442" fmla="*/ 4605673 h 6858000"/>
              <a:gd name="connsiteX1443" fmla="*/ 5545127 w 6530564"/>
              <a:gd name="connsiteY1443" fmla="*/ 4573107 h 6858000"/>
              <a:gd name="connsiteX1444" fmla="*/ 5400007 w 6530564"/>
              <a:gd name="connsiteY1444" fmla="*/ 4782392 h 6858000"/>
              <a:gd name="connsiteX1445" fmla="*/ 5292521 w 6530564"/>
              <a:gd name="connsiteY1445" fmla="*/ 4889355 h 6858000"/>
              <a:gd name="connsiteX1446" fmla="*/ 5403631 w 6530564"/>
              <a:gd name="connsiteY1446" fmla="*/ 4790663 h 6858000"/>
              <a:gd name="connsiteX1447" fmla="*/ 5540062 w 6530564"/>
              <a:gd name="connsiteY1447" fmla="*/ 4630142 h 6858000"/>
              <a:gd name="connsiteX1448" fmla="*/ 5835395 w 6530564"/>
              <a:gd name="connsiteY1448" fmla="*/ 4132646 h 6858000"/>
              <a:gd name="connsiteX1449" fmla="*/ 5860185 w 6530564"/>
              <a:gd name="connsiteY1449" fmla="*/ 4061918 h 6858000"/>
              <a:gd name="connsiteX1450" fmla="*/ 5841093 w 6530564"/>
              <a:gd name="connsiteY1450" fmla="*/ 4078700 h 6858000"/>
              <a:gd name="connsiteX1451" fmla="*/ 5603333 w 6530564"/>
              <a:gd name="connsiteY1451" fmla="*/ 4508413 h 6858000"/>
              <a:gd name="connsiteX1452" fmla="*/ 5582878 w 6530564"/>
              <a:gd name="connsiteY1452" fmla="*/ 4524830 h 6858000"/>
              <a:gd name="connsiteX1453" fmla="*/ 5585095 w 6530564"/>
              <a:gd name="connsiteY1453" fmla="*/ 4494767 h 6858000"/>
              <a:gd name="connsiteX1454" fmla="*/ 5674172 w 6530564"/>
              <a:gd name="connsiteY1454" fmla="*/ 4363893 h 6858000"/>
              <a:gd name="connsiteX1455" fmla="*/ 5923723 w 6530564"/>
              <a:gd name="connsiteY1455" fmla="*/ 3721285 h 6858000"/>
              <a:gd name="connsiteX1456" fmla="*/ 5954351 w 6530564"/>
              <a:gd name="connsiteY1456" fmla="*/ 3182057 h 6858000"/>
              <a:gd name="connsiteX1457" fmla="*/ 5955213 w 6530564"/>
              <a:gd name="connsiteY1457" fmla="*/ 3069882 h 6858000"/>
              <a:gd name="connsiteX1458" fmla="*/ 5905413 w 6530564"/>
              <a:gd name="connsiteY1458" fmla="*/ 3914916 h 6858000"/>
              <a:gd name="connsiteX1459" fmla="*/ 5937521 w 6530564"/>
              <a:gd name="connsiteY1459" fmla="*/ 3876803 h 6858000"/>
              <a:gd name="connsiteX1460" fmla="*/ 5898035 w 6530564"/>
              <a:gd name="connsiteY1460" fmla="*/ 4007827 h 6858000"/>
              <a:gd name="connsiteX1461" fmla="*/ 5827971 w 6530564"/>
              <a:gd name="connsiteY1461" fmla="*/ 4187589 h 6858000"/>
              <a:gd name="connsiteX1462" fmla="*/ 5826681 w 6530564"/>
              <a:gd name="connsiteY1462" fmla="*/ 4203302 h 6858000"/>
              <a:gd name="connsiteX1463" fmla="*/ 5839500 w 6530564"/>
              <a:gd name="connsiteY1463" fmla="*/ 4193599 h 6858000"/>
              <a:gd name="connsiteX1464" fmla="*/ 5929413 w 6530564"/>
              <a:gd name="connsiteY1464" fmla="*/ 3972440 h 6858000"/>
              <a:gd name="connsiteX1465" fmla="*/ 5953909 w 6530564"/>
              <a:gd name="connsiteY1465" fmla="*/ 3919150 h 6858000"/>
              <a:gd name="connsiteX1466" fmla="*/ 6006151 w 6530564"/>
              <a:gd name="connsiteY1466" fmla="*/ 3680598 h 6858000"/>
              <a:gd name="connsiteX1467" fmla="*/ 6033787 w 6530564"/>
              <a:gd name="connsiteY1467" fmla="*/ 3136190 h 6858000"/>
              <a:gd name="connsiteX1468" fmla="*/ 6028315 w 6530564"/>
              <a:gd name="connsiteY1468" fmla="*/ 3093047 h 6858000"/>
              <a:gd name="connsiteX1469" fmla="*/ 6025816 w 6530564"/>
              <a:gd name="connsiteY1469" fmla="*/ 3080224 h 6858000"/>
              <a:gd name="connsiteX1470" fmla="*/ 5462620 w 6530564"/>
              <a:gd name="connsiteY1470" fmla="*/ 1953402 h 6858000"/>
              <a:gd name="connsiteX1471" fmla="*/ 5104061 w 6530564"/>
              <a:gd name="connsiteY1471" fmla="*/ 1632541 h 6858000"/>
              <a:gd name="connsiteX1472" fmla="*/ 5003371 w 6530564"/>
              <a:gd name="connsiteY1472" fmla="*/ 1558743 h 6858000"/>
              <a:gd name="connsiteX1473" fmla="*/ 4962275 w 6530564"/>
              <a:gd name="connsiteY1473" fmla="*/ 1523505 h 6858000"/>
              <a:gd name="connsiteX1474" fmla="*/ 4951211 w 6530564"/>
              <a:gd name="connsiteY1474" fmla="*/ 1516212 h 6858000"/>
              <a:gd name="connsiteX1475" fmla="*/ 4887030 w 6530564"/>
              <a:gd name="connsiteY1475" fmla="*/ 1488798 h 6858000"/>
              <a:gd name="connsiteX1476" fmla="*/ 4878235 w 6530564"/>
              <a:gd name="connsiteY1476" fmla="*/ 1485529 h 6858000"/>
              <a:gd name="connsiteX1477" fmla="*/ 2488089 w 6530564"/>
              <a:gd name="connsiteY1477" fmla="*/ 1468873 h 6858000"/>
              <a:gd name="connsiteX1478" fmla="*/ 2483339 w 6530564"/>
              <a:gd name="connsiteY1478" fmla="*/ 1472039 h 6858000"/>
              <a:gd name="connsiteX1479" fmla="*/ 2486645 w 6530564"/>
              <a:gd name="connsiteY1479" fmla="*/ 1469475 h 6858000"/>
              <a:gd name="connsiteX1480" fmla="*/ 2428360 w 6530564"/>
              <a:gd name="connsiteY1480" fmla="*/ 1430993 h 6858000"/>
              <a:gd name="connsiteX1481" fmla="*/ 2428663 w 6530564"/>
              <a:gd name="connsiteY1481" fmla="*/ 1432410 h 6858000"/>
              <a:gd name="connsiteX1482" fmla="*/ 2423991 w 6530564"/>
              <a:gd name="connsiteY1482" fmla="*/ 1433409 h 6858000"/>
              <a:gd name="connsiteX1483" fmla="*/ 3312724 w 6530564"/>
              <a:gd name="connsiteY1483" fmla="*/ 1415766 h 6858000"/>
              <a:gd name="connsiteX1484" fmla="*/ 3256489 w 6530564"/>
              <a:gd name="connsiteY1484" fmla="*/ 1428825 h 6858000"/>
              <a:gd name="connsiteX1485" fmla="*/ 3219056 w 6530564"/>
              <a:gd name="connsiteY1485" fmla="*/ 1450437 h 6858000"/>
              <a:gd name="connsiteX1486" fmla="*/ 3264571 w 6530564"/>
              <a:gd name="connsiteY1486" fmla="*/ 1438022 h 6858000"/>
              <a:gd name="connsiteX1487" fmla="*/ 3145305 w 6530564"/>
              <a:gd name="connsiteY1487" fmla="*/ 1476381 h 6858000"/>
              <a:gd name="connsiteX1488" fmla="*/ 3078993 w 6530564"/>
              <a:gd name="connsiteY1488" fmla="*/ 1500802 h 6858000"/>
              <a:gd name="connsiteX1489" fmla="*/ 3032598 w 6530564"/>
              <a:gd name="connsiteY1489" fmla="*/ 1516496 h 6858000"/>
              <a:gd name="connsiteX1490" fmla="*/ 3010922 w 6530564"/>
              <a:gd name="connsiteY1490" fmla="*/ 1531783 h 6858000"/>
              <a:gd name="connsiteX1491" fmla="*/ 1851594 w 6530564"/>
              <a:gd name="connsiteY1491" fmla="*/ 3116159 h 6858000"/>
              <a:gd name="connsiteX1492" fmla="*/ 1924097 w 6530564"/>
              <a:gd name="connsiteY1492" fmla="*/ 3947739 h 6858000"/>
              <a:gd name="connsiteX1493" fmla="*/ 3149544 w 6530564"/>
              <a:gd name="connsiteY1493" fmla="*/ 5239426 h 6858000"/>
              <a:gd name="connsiteX1494" fmla="*/ 3272436 w 6530564"/>
              <a:gd name="connsiteY1494" fmla="*/ 5279386 h 6858000"/>
              <a:gd name="connsiteX1495" fmla="*/ 3274837 w 6530564"/>
              <a:gd name="connsiteY1495" fmla="*/ 5283546 h 6858000"/>
              <a:gd name="connsiteX1496" fmla="*/ 3284679 w 6530564"/>
              <a:gd name="connsiteY1496" fmla="*/ 5286183 h 6858000"/>
              <a:gd name="connsiteX1497" fmla="*/ 3288837 w 6530564"/>
              <a:gd name="connsiteY1497" fmla="*/ 5283781 h 6858000"/>
              <a:gd name="connsiteX1498" fmla="*/ 3380685 w 6530564"/>
              <a:gd name="connsiteY1498" fmla="*/ 5308392 h 6858000"/>
              <a:gd name="connsiteX1499" fmla="*/ 3599176 w 6530564"/>
              <a:gd name="connsiteY1499" fmla="*/ 5345842 h 6858000"/>
              <a:gd name="connsiteX1500" fmla="*/ 4305801 w 6530564"/>
              <a:gd name="connsiteY1500" fmla="*/ 5306654 h 6858000"/>
              <a:gd name="connsiteX1501" fmla="*/ 4682641 w 6530564"/>
              <a:gd name="connsiteY1501" fmla="*/ 5186132 h 6858000"/>
              <a:gd name="connsiteX1502" fmla="*/ 4677601 w 6530564"/>
              <a:gd name="connsiteY1502" fmla="*/ 5191813 h 6858000"/>
              <a:gd name="connsiteX1503" fmla="*/ 4733195 w 6530564"/>
              <a:gd name="connsiteY1503" fmla="*/ 5168036 h 6858000"/>
              <a:gd name="connsiteX1504" fmla="*/ 4762309 w 6530564"/>
              <a:gd name="connsiteY1504" fmla="*/ 5151226 h 6858000"/>
              <a:gd name="connsiteX1505" fmla="*/ 4852933 w 6530564"/>
              <a:gd name="connsiteY1505" fmla="*/ 5101678 h 6858000"/>
              <a:gd name="connsiteX1506" fmla="*/ 4886205 w 6530564"/>
              <a:gd name="connsiteY1506" fmla="*/ 5082466 h 6858000"/>
              <a:gd name="connsiteX1507" fmla="*/ 5167103 w 6530564"/>
              <a:gd name="connsiteY1507" fmla="*/ 4887015 h 6858000"/>
              <a:gd name="connsiteX1508" fmla="*/ 5099205 w 6530564"/>
              <a:gd name="connsiteY1508" fmla="*/ 4956718 h 6858000"/>
              <a:gd name="connsiteX1509" fmla="*/ 5079289 w 6530564"/>
              <a:gd name="connsiteY1509" fmla="*/ 4965443 h 6858000"/>
              <a:gd name="connsiteX1510" fmla="*/ 5004830 w 6530564"/>
              <a:gd name="connsiteY1510" fmla="*/ 5033389 h 6858000"/>
              <a:gd name="connsiteX1511" fmla="*/ 5039627 w 6530564"/>
              <a:gd name="connsiteY1511" fmla="*/ 5021617 h 6858000"/>
              <a:gd name="connsiteX1512" fmla="*/ 5104007 w 6530564"/>
              <a:gd name="connsiteY1512" fmla="*/ 4965035 h 6858000"/>
              <a:gd name="connsiteX1513" fmla="*/ 5123925 w 6530564"/>
              <a:gd name="connsiteY1513" fmla="*/ 4956309 h 6858000"/>
              <a:gd name="connsiteX1514" fmla="*/ 5168389 w 6530564"/>
              <a:gd name="connsiteY1514" fmla="*/ 4908456 h 6858000"/>
              <a:gd name="connsiteX1515" fmla="*/ 5221817 w 6530564"/>
              <a:gd name="connsiteY1515" fmla="*/ 4866518 h 6858000"/>
              <a:gd name="connsiteX1516" fmla="*/ 5229491 w 6530564"/>
              <a:gd name="connsiteY1516" fmla="*/ 4850995 h 6858000"/>
              <a:gd name="connsiteX1517" fmla="*/ 5255325 w 6530564"/>
              <a:gd name="connsiteY1517" fmla="*/ 4833307 h 6858000"/>
              <a:gd name="connsiteX1518" fmla="*/ 5282919 w 6530564"/>
              <a:gd name="connsiteY1518" fmla="*/ 4809059 h 6858000"/>
              <a:gd name="connsiteX1519" fmla="*/ 5300025 w 6530564"/>
              <a:gd name="connsiteY1519" fmla="*/ 4771452 h 6858000"/>
              <a:gd name="connsiteX1520" fmla="*/ 5287549 w 6530564"/>
              <a:gd name="connsiteY1520" fmla="*/ 4778657 h 6858000"/>
              <a:gd name="connsiteX1521" fmla="*/ 5820215 w 6530564"/>
              <a:gd name="connsiteY1521" fmla="*/ 3866642 h 6858000"/>
              <a:gd name="connsiteX1522" fmla="*/ 5820377 w 6530564"/>
              <a:gd name="connsiteY1522" fmla="*/ 3865901 h 6858000"/>
              <a:gd name="connsiteX1523" fmla="*/ 5786815 w 6530564"/>
              <a:gd name="connsiteY1523" fmla="*/ 3962149 h 6858000"/>
              <a:gd name="connsiteX1524" fmla="*/ 5689529 w 6530564"/>
              <a:gd name="connsiteY1524" fmla="*/ 4151358 h 6858000"/>
              <a:gd name="connsiteX1525" fmla="*/ 5652275 w 6530564"/>
              <a:gd name="connsiteY1525" fmla="*/ 4213857 h 6858000"/>
              <a:gd name="connsiteX1526" fmla="*/ 5648119 w 6530564"/>
              <a:gd name="connsiteY1526" fmla="*/ 4223529 h 6858000"/>
              <a:gd name="connsiteX1527" fmla="*/ 5290656 w 6530564"/>
              <a:gd name="connsiteY1527" fmla="*/ 4740814 h 6858000"/>
              <a:gd name="connsiteX1528" fmla="*/ 5293293 w 6530564"/>
              <a:gd name="connsiteY1528" fmla="*/ 4730974 h 6858000"/>
              <a:gd name="connsiteX1529" fmla="*/ 5252987 w 6530564"/>
              <a:gd name="connsiteY1529" fmla="*/ 4776428 h 6858000"/>
              <a:gd name="connsiteX1530" fmla="*/ 5200205 w 6530564"/>
              <a:gd name="connsiteY1530" fmla="*/ 4829085 h 6858000"/>
              <a:gd name="connsiteX1531" fmla="*/ 5167573 w 6530564"/>
              <a:gd name="connsiteY1531" fmla="*/ 4859015 h 6858000"/>
              <a:gd name="connsiteX1532" fmla="*/ 5164293 w 6530564"/>
              <a:gd name="connsiteY1532" fmla="*/ 4858136 h 6858000"/>
              <a:gd name="connsiteX1533" fmla="*/ 5163415 w 6530564"/>
              <a:gd name="connsiteY1533" fmla="*/ 4861416 h 6858000"/>
              <a:gd name="connsiteX1534" fmla="*/ 5159255 w 6530564"/>
              <a:gd name="connsiteY1534" fmla="*/ 4863817 h 6858000"/>
              <a:gd name="connsiteX1535" fmla="*/ 5154217 w 6530564"/>
              <a:gd name="connsiteY1535" fmla="*/ 4869499 h 6858000"/>
              <a:gd name="connsiteX1536" fmla="*/ 5139981 w 6530564"/>
              <a:gd name="connsiteY1536" fmla="*/ 4883264 h 6858000"/>
              <a:gd name="connsiteX1537" fmla="*/ 5089836 w 6530564"/>
              <a:gd name="connsiteY1537" fmla="*/ 4926080 h 6858000"/>
              <a:gd name="connsiteX1538" fmla="*/ 5068160 w 6530564"/>
              <a:gd name="connsiteY1538" fmla="*/ 4941369 h 6858000"/>
              <a:gd name="connsiteX1539" fmla="*/ 5019772 w 6530564"/>
              <a:gd name="connsiteY1539" fmla="*/ 4977623 h 6858000"/>
              <a:gd name="connsiteX1540" fmla="*/ 5020651 w 6530564"/>
              <a:gd name="connsiteY1540" fmla="*/ 4974342 h 6858000"/>
              <a:gd name="connsiteX1541" fmla="*/ 5011455 w 6530564"/>
              <a:gd name="connsiteY1541" fmla="*/ 4982425 h 6858000"/>
              <a:gd name="connsiteX1542" fmla="*/ 4305801 w 6530564"/>
              <a:gd name="connsiteY1542" fmla="*/ 5306654 h 6858000"/>
              <a:gd name="connsiteX1543" fmla="*/ 3402360 w 6530564"/>
              <a:gd name="connsiteY1543" fmla="*/ 5293105 h 6858000"/>
              <a:gd name="connsiteX1544" fmla="*/ 3404117 w 6530564"/>
              <a:gd name="connsiteY1544" fmla="*/ 5286544 h 6858000"/>
              <a:gd name="connsiteX1545" fmla="*/ 3508914 w 6530564"/>
              <a:gd name="connsiteY1545" fmla="*/ 5275951 h 6858000"/>
              <a:gd name="connsiteX1546" fmla="*/ 3496671 w 6530564"/>
              <a:gd name="connsiteY1546" fmla="*/ 5269154 h 6858000"/>
              <a:gd name="connsiteX1547" fmla="*/ 3557475 w 6530564"/>
              <a:gd name="connsiteY1547" fmla="*/ 5278414 h 6858000"/>
              <a:gd name="connsiteX1548" fmla="*/ 3604513 w 6530564"/>
              <a:gd name="connsiteY1548" fmla="*/ 5273439 h 6858000"/>
              <a:gd name="connsiteX1549" fmla="*/ 3573468 w 6530564"/>
              <a:gd name="connsiteY1549" fmla="*/ 5258088 h 6858000"/>
              <a:gd name="connsiteX1550" fmla="*/ 3577628 w 6530564"/>
              <a:gd name="connsiteY1550" fmla="*/ 5255687 h 6858000"/>
              <a:gd name="connsiteX1551" fmla="*/ 3580907 w 6530564"/>
              <a:gd name="connsiteY1551" fmla="*/ 5256567 h 6858000"/>
              <a:gd name="connsiteX1552" fmla="*/ 3584189 w 6530564"/>
              <a:gd name="connsiteY1552" fmla="*/ 5257445 h 6858000"/>
              <a:gd name="connsiteX1553" fmla="*/ 3590749 w 6530564"/>
              <a:gd name="connsiteY1553" fmla="*/ 5259203 h 6858000"/>
              <a:gd name="connsiteX1554" fmla="*/ 3588347 w 6530564"/>
              <a:gd name="connsiteY1554" fmla="*/ 5255045 h 6858000"/>
              <a:gd name="connsiteX1555" fmla="*/ 3585065 w 6530564"/>
              <a:gd name="connsiteY1555" fmla="*/ 5254166 h 6858000"/>
              <a:gd name="connsiteX1556" fmla="*/ 3581787 w 6530564"/>
              <a:gd name="connsiteY1556" fmla="*/ 5253286 h 6858000"/>
              <a:gd name="connsiteX1557" fmla="*/ 3572825 w 6530564"/>
              <a:gd name="connsiteY1557" fmla="*/ 5247369 h 6858000"/>
              <a:gd name="connsiteX1558" fmla="*/ 3568666 w 6530564"/>
              <a:gd name="connsiteY1558" fmla="*/ 5249771 h 6858000"/>
              <a:gd name="connsiteX1559" fmla="*/ 3571945 w 6530564"/>
              <a:gd name="connsiteY1559" fmla="*/ 5250649 h 6858000"/>
              <a:gd name="connsiteX1560" fmla="*/ 3574346 w 6530564"/>
              <a:gd name="connsiteY1560" fmla="*/ 5254808 h 6858000"/>
              <a:gd name="connsiteX1561" fmla="*/ 3564507 w 6530564"/>
              <a:gd name="connsiteY1561" fmla="*/ 5252171 h 6858000"/>
              <a:gd name="connsiteX1562" fmla="*/ 3561226 w 6530564"/>
              <a:gd name="connsiteY1562" fmla="*/ 5251293 h 6858000"/>
              <a:gd name="connsiteX1563" fmla="*/ 3539378 w 6530564"/>
              <a:gd name="connsiteY1563" fmla="*/ 5227860 h 6858000"/>
              <a:gd name="connsiteX1564" fmla="*/ 3579620 w 6530564"/>
              <a:gd name="connsiteY1564" fmla="*/ 5235127 h 6858000"/>
              <a:gd name="connsiteX1565" fmla="*/ 3570016 w 6530564"/>
              <a:gd name="connsiteY1565" fmla="*/ 5218490 h 6858000"/>
              <a:gd name="connsiteX1566" fmla="*/ 3657531 w 6530564"/>
              <a:gd name="connsiteY1566" fmla="*/ 5206782 h 6858000"/>
              <a:gd name="connsiteX1567" fmla="*/ 3660813 w 6530564"/>
              <a:gd name="connsiteY1567" fmla="*/ 5207661 h 6858000"/>
              <a:gd name="connsiteX1568" fmla="*/ 3667372 w 6530564"/>
              <a:gd name="connsiteY1568" fmla="*/ 5209419 h 6858000"/>
              <a:gd name="connsiteX1569" fmla="*/ 3671532 w 6530564"/>
              <a:gd name="connsiteY1569" fmla="*/ 5207018 h 6858000"/>
              <a:gd name="connsiteX1570" fmla="*/ 3710251 w 6530564"/>
              <a:gd name="connsiteY1570" fmla="*/ 5206844 h 6858000"/>
              <a:gd name="connsiteX1571" fmla="*/ 3724251 w 6530564"/>
              <a:gd name="connsiteY1571" fmla="*/ 5207082 h 6858000"/>
              <a:gd name="connsiteX1572" fmla="*/ 3728411 w 6530564"/>
              <a:gd name="connsiteY1572" fmla="*/ 5204679 h 6858000"/>
              <a:gd name="connsiteX1573" fmla="*/ 3731689 w 6530564"/>
              <a:gd name="connsiteY1573" fmla="*/ 5205559 h 6858000"/>
              <a:gd name="connsiteX1574" fmla="*/ 3732569 w 6530564"/>
              <a:gd name="connsiteY1574" fmla="*/ 5202278 h 6858000"/>
              <a:gd name="connsiteX1575" fmla="*/ 3735849 w 6530564"/>
              <a:gd name="connsiteY1575" fmla="*/ 5203156 h 6858000"/>
              <a:gd name="connsiteX1576" fmla="*/ 3750729 w 6530564"/>
              <a:gd name="connsiteY1576" fmla="*/ 5200112 h 6858000"/>
              <a:gd name="connsiteX1577" fmla="*/ 3741767 w 6530564"/>
              <a:gd name="connsiteY1577" fmla="*/ 5194194 h 6858000"/>
              <a:gd name="connsiteX1578" fmla="*/ 3750085 w 6530564"/>
              <a:gd name="connsiteY1578" fmla="*/ 5189392 h 6858000"/>
              <a:gd name="connsiteX1579" fmla="*/ 3780485 w 6530564"/>
              <a:gd name="connsiteY1579" fmla="*/ 5194022 h 6858000"/>
              <a:gd name="connsiteX1580" fmla="*/ 3866245 w 6530564"/>
              <a:gd name="connsiteY1580" fmla="*/ 5188875 h 6858000"/>
              <a:gd name="connsiteX1581" fmla="*/ 3887685 w 6530564"/>
              <a:gd name="connsiteY1581" fmla="*/ 5187588 h 6858000"/>
              <a:gd name="connsiteX1582" fmla="*/ 3959442 w 6530564"/>
              <a:gd name="connsiteY1582" fmla="*/ 5182205 h 6858000"/>
              <a:gd name="connsiteX1583" fmla="*/ 3969282 w 6530564"/>
              <a:gd name="connsiteY1583" fmla="*/ 5184842 h 6858000"/>
              <a:gd name="connsiteX1584" fmla="*/ 3977601 w 6530564"/>
              <a:gd name="connsiteY1584" fmla="*/ 5180038 h 6858000"/>
              <a:gd name="connsiteX1585" fmla="*/ 3980003 w 6530564"/>
              <a:gd name="connsiteY1585" fmla="*/ 5184199 h 6858000"/>
              <a:gd name="connsiteX1586" fmla="*/ 4031200 w 6530564"/>
              <a:gd name="connsiteY1586" fmla="*/ 5176823 h 6858000"/>
              <a:gd name="connsiteX1587" fmla="*/ 4029443 w 6530564"/>
              <a:gd name="connsiteY1587" fmla="*/ 5183383 h 6858000"/>
              <a:gd name="connsiteX1588" fmla="*/ 4041919 w 6530564"/>
              <a:gd name="connsiteY1588" fmla="*/ 5176178 h 6858000"/>
              <a:gd name="connsiteX1589" fmla="*/ 4067519 w 6530564"/>
              <a:gd name="connsiteY1589" fmla="*/ 5172490 h 6858000"/>
              <a:gd name="connsiteX1590" fmla="*/ 4070798 w 6530564"/>
              <a:gd name="connsiteY1590" fmla="*/ 5173369 h 6858000"/>
              <a:gd name="connsiteX1591" fmla="*/ 4069920 w 6530564"/>
              <a:gd name="connsiteY1591" fmla="*/ 5176648 h 6858000"/>
              <a:gd name="connsiteX1592" fmla="*/ 4069041 w 6530564"/>
              <a:gd name="connsiteY1592" fmla="*/ 5179929 h 6858000"/>
              <a:gd name="connsiteX1593" fmla="*/ 4072321 w 6530564"/>
              <a:gd name="connsiteY1593" fmla="*/ 5180808 h 6858000"/>
              <a:gd name="connsiteX1594" fmla="*/ 4089601 w 6530564"/>
              <a:gd name="connsiteY1594" fmla="*/ 5181922 h 6858000"/>
              <a:gd name="connsiteX1595" fmla="*/ 4088723 w 6530564"/>
              <a:gd name="connsiteY1595" fmla="*/ 5185204 h 6858000"/>
              <a:gd name="connsiteX1596" fmla="*/ 4092003 w 6530564"/>
              <a:gd name="connsiteY1596" fmla="*/ 5186082 h 6858000"/>
              <a:gd name="connsiteX1597" fmla="*/ 4096162 w 6530564"/>
              <a:gd name="connsiteY1597" fmla="*/ 5183681 h 6858000"/>
              <a:gd name="connsiteX1598" fmla="*/ 4165519 w 6530564"/>
              <a:gd name="connsiteY1598" fmla="*/ 5174139 h 6858000"/>
              <a:gd name="connsiteX1599" fmla="*/ 4237513 w 6530564"/>
              <a:gd name="connsiteY1599" fmla="*/ 5154755 h 6858000"/>
              <a:gd name="connsiteX1600" fmla="*/ 4264671 w 6530564"/>
              <a:gd name="connsiteY1600" fmla="*/ 5150166 h 6858000"/>
              <a:gd name="connsiteX1601" fmla="*/ 4275426 w 6530564"/>
              <a:gd name="connsiteY1601" fmla="*/ 5147224 h 6858000"/>
              <a:gd name="connsiteX1602" fmla="*/ 4225547 w 6530564"/>
              <a:gd name="connsiteY1602" fmla="*/ 5155482 h 6858000"/>
              <a:gd name="connsiteX1603" fmla="*/ 3777147 w 6530564"/>
              <a:gd name="connsiteY1603" fmla="*/ 5162641 h 6858000"/>
              <a:gd name="connsiteX1604" fmla="*/ 3607202 w 6530564"/>
              <a:gd name="connsiteY1604" fmla="*/ 5141859 h 6858000"/>
              <a:gd name="connsiteX1605" fmla="*/ 3593293 w 6530564"/>
              <a:gd name="connsiteY1605" fmla="*/ 5134094 h 6858000"/>
              <a:gd name="connsiteX1606" fmla="*/ 3601266 w 6530564"/>
              <a:gd name="connsiteY1606" fmla="*/ 5128978 h 6858000"/>
              <a:gd name="connsiteX1607" fmla="*/ 4150133 w 6530564"/>
              <a:gd name="connsiteY1607" fmla="*/ 5138134 h 6858000"/>
              <a:gd name="connsiteX1608" fmla="*/ 4432718 w 6530564"/>
              <a:gd name="connsiteY1608" fmla="*/ 5085854 h 6858000"/>
              <a:gd name="connsiteX1609" fmla="*/ 4466865 w 6530564"/>
              <a:gd name="connsiteY1609" fmla="*/ 5078886 h 6858000"/>
              <a:gd name="connsiteX1610" fmla="*/ 4480356 w 6530564"/>
              <a:gd name="connsiteY1610" fmla="*/ 5069063 h 6858000"/>
              <a:gd name="connsiteX1611" fmla="*/ 4462767 w 6530564"/>
              <a:gd name="connsiteY1611" fmla="*/ 5061914 h 6858000"/>
              <a:gd name="connsiteX1612" fmla="*/ 4330679 w 6530564"/>
              <a:gd name="connsiteY1612" fmla="*/ 5094082 h 6858000"/>
              <a:gd name="connsiteX1613" fmla="*/ 4193125 w 6530564"/>
              <a:gd name="connsiteY1613" fmla="*/ 5115579 h 6858000"/>
              <a:gd name="connsiteX1614" fmla="*/ 4089964 w 6530564"/>
              <a:gd name="connsiteY1614" fmla="*/ 5124917 h 6858000"/>
              <a:gd name="connsiteX1615" fmla="*/ 4090545 w 6530564"/>
              <a:gd name="connsiteY1615" fmla="*/ 5125923 h 6858000"/>
              <a:gd name="connsiteX1616" fmla="*/ 4046787 w 6530564"/>
              <a:gd name="connsiteY1616" fmla="*/ 5131776 h 6858000"/>
              <a:gd name="connsiteX1617" fmla="*/ 4047666 w 6530564"/>
              <a:gd name="connsiteY1617" fmla="*/ 5128497 h 6858000"/>
              <a:gd name="connsiteX1618" fmla="*/ 4061664 w 6530564"/>
              <a:gd name="connsiteY1618" fmla="*/ 5128732 h 6858000"/>
              <a:gd name="connsiteX1619" fmla="*/ 4072652 w 6530564"/>
              <a:gd name="connsiteY1619" fmla="*/ 5126484 h 6858000"/>
              <a:gd name="connsiteX1620" fmla="*/ 4056543 w 6530564"/>
              <a:gd name="connsiteY1620" fmla="*/ 5127942 h 6858000"/>
              <a:gd name="connsiteX1621" fmla="*/ 4025363 w 6530564"/>
              <a:gd name="connsiteY1621" fmla="*/ 5128577 h 6858000"/>
              <a:gd name="connsiteX1622" fmla="*/ 4022586 w 6530564"/>
              <a:gd name="connsiteY1622" fmla="*/ 5131884 h 6858000"/>
              <a:gd name="connsiteX1623" fmla="*/ 4021187 w 6530564"/>
              <a:gd name="connsiteY1623" fmla="*/ 5135465 h 6858000"/>
              <a:gd name="connsiteX1624" fmla="*/ 4014626 w 6530564"/>
              <a:gd name="connsiteY1624" fmla="*/ 5133707 h 6858000"/>
              <a:gd name="connsiteX1625" fmla="*/ 4015505 w 6530564"/>
              <a:gd name="connsiteY1625" fmla="*/ 5130427 h 6858000"/>
              <a:gd name="connsiteX1626" fmla="*/ 4012226 w 6530564"/>
              <a:gd name="connsiteY1626" fmla="*/ 5129549 h 6858000"/>
              <a:gd name="connsiteX1627" fmla="*/ 4009785 w 6530564"/>
              <a:gd name="connsiteY1627" fmla="*/ 5128894 h 6858000"/>
              <a:gd name="connsiteX1628" fmla="*/ 3920985 w 6530564"/>
              <a:gd name="connsiteY1628" fmla="*/ 5130704 h 6858000"/>
              <a:gd name="connsiteX1629" fmla="*/ 3897176 w 6530564"/>
              <a:gd name="connsiteY1629" fmla="*/ 5129411 h 6858000"/>
              <a:gd name="connsiteX1630" fmla="*/ 3884467 w 6530564"/>
              <a:gd name="connsiteY1630" fmla="*/ 5133988 h 6858000"/>
              <a:gd name="connsiteX1631" fmla="*/ 3866308 w 6530564"/>
              <a:gd name="connsiteY1631" fmla="*/ 5136155 h 6858000"/>
              <a:gd name="connsiteX1632" fmla="*/ 3845748 w 6530564"/>
              <a:gd name="connsiteY1632" fmla="*/ 5134162 h 6858000"/>
              <a:gd name="connsiteX1633" fmla="*/ 3821029 w 6530564"/>
              <a:gd name="connsiteY1633" fmla="*/ 5134569 h 6858000"/>
              <a:gd name="connsiteX1634" fmla="*/ 3786467 w 6530564"/>
              <a:gd name="connsiteY1634" fmla="*/ 5132340 h 6858000"/>
              <a:gd name="connsiteX1635" fmla="*/ 3765027 w 6530564"/>
              <a:gd name="connsiteY1635" fmla="*/ 5133628 h 6858000"/>
              <a:gd name="connsiteX1636" fmla="*/ 3761746 w 6530564"/>
              <a:gd name="connsiteY1636" fmla="*/ 5132748 h 6858000"/>
              <a:gd name="connsiteX1637" fmla="*/ 3733748 w 6530564"/>
              <a:gd name="connsiteY1637" fmla="*/ 5132278 h 6858000"/>
              <a:gd name="connsiteX1638" fmla="*/ 3709028 w 6530564"/>
              <a:gd name="connsiteY1638" fmla="*/ 5132686 h 6858000"/>
              <a:gd name="connsiteX1639" fmla="*/ 3698308 w 6530564"/>
              <a:gd name="connsiteY1639" fmla="*/ 5133328 h 6858000"/>
              <a:gd name="connsiteX1640" fmla="*/ 3695027 w 6530564"/>
              <a:gd name="connsiteY1640" fmla="*/ 5132450 h 6858000"/>
              <a:gd name="connsiteX1641" fmla="*/ 3686065 w 6530564"/>
              <a:gd name="connsiteY1641" fmla="*/ 5126532 h 6858000"/>
              <a:gd name="connsiteX1642" fmla="*/ 3682787 w 6530564"/>
              <a:gd name="connsiteY1642" fmla="*/ 5125654 h 6858000"/>
              <a:gd name="connsiteX1643" fmla="*/ 3675347 w 6530564"/>
              <a:gd name="connsiteY1643" fmla="*/ 5127176 h 6858000"/>
              <a:gd name="connsiteX1644" fmla="*/ 3674467 w 6530564"/>
              <a:gd name="connsiteY1644" fmla="*/ 5130457 h 6858000"/>
              <a:gd name="connsiteX1645" fmla="*/ 3658065 w 6530564"/>
              <a:gd name="connsiteY1645" fmla="*/ 5126062 h 6858000"/>
              <a:gd name="connsiteX1646" fmla="*/ 3653907 w 6530564"/>
              <a:gd name="connsiteY1646" fmla="*/ 5128463 h 6858000"/>
              <a:gd name="connsiteX1647" fmla="*/ 3657187 w 6530564"/>
              <a:gd name="connsiteY1647" fmla="*/ 5129341 h 6858000"/>
              <a:gd name="connsiteX1648" fmla="*/ 3674467 w 6530564"/>
              <a:gd name="connsiteY1648" fmla="*/ 5130457 h 6858000"/>
              <a:gd name="connsiteX1649" fmla="*/ 3673588 w 6530564"/>
              <a:gd name="connsiteY1649" fmla="*/ 5133737 h 6858000"/>
              <a:gd name="connsiteX1650" fmla="*/ 3667027 w 6530564"/>
              <a:gd name="connsiteY1650" fmla="*/ 5131978 h 6858000"/>
              <a:gd name="connsiteX1651" fmla="*/ 3663747 w 6530564"/>
              <a:gd name="connsiteY1651" fmla="*/ 5131100 h 6858000"/>
              <a:gd name="connsiteX1652" fmla="*/ 3653027 w 6530564"/>
              <a:gd name="connsiteY1652" fmla="*/ 5131744 h 6858000"/>
              <a:gd name="connsiteX1653" fmla="*/ 3639907 w 6530564"/>
              <a:gd name="connsiteY1653" fmla="*/ 5128227 h 6858000"/>
              <a:gd name="connsiteX1654" fmla="*/ 3644067 w 6530564"/>
              <a:gd name="connsiteY1654" fmla="*/ 5125825 h 6858000"/>
              <a:gd name="connsiteX1655" fmla="*/ 3637506 w 6530564"/>
              <a:gd name="connsiteY1655" fmla="*/ 5124069 h 6858000"/>
              <a:gd name="connsiteX1656" fmla="*/ 3630945 w 6530564"/>
              <a:gd name="connsiteY1656" fmla="*/ 5122310 h 6858000"/>
              <a:gd name="connsiteX1657" fmla="*/ 3620224 w 6530564"/>
              <a:gd name="connsiteY1657" fmla="*/ 5122954 h 6858000"/>
              <a:gd name="connsiteX1658" fmla="*/ 3613665 w 6530564"/>
              <a:gd name="connsiteY1658" fmla="*/ 5121196 h 6858000"/>
              <a:gd name="connsiteX1659" fmla="*/ 3609505 w 6530564"/>
              <a:gd name="connsiteY1659" fmla="*/ 5123597 h 6858000"/>
              <a:gd name="connsiteX1660" fmla="*/ 3598785 w 6530564"/>
              <a:gd name="connsiteY1660" fmla="*/ 5124241 h 6858000"/>
              <a:gd name="connsiteX1661" fmla="*/ 3592225 w 6530564"/>
              <a:gd name="connsiteY1661" fmla="*/ 5122483 h 6858000"/>
              <a:gd name="connsiteX1662" fmla="*/ 3589823 w 6530564"/>
              <a:gd name="connsiteY1662" fmla="*/ 5118324 h 6858000"/>
              <a:gd name="connsiteX1663" fmla="*/ 3585664 w 6530564"/>
              <a:gd name="connsiteY1663" fmla="*/ 5120726 h 6858000"/>
              <a:gd name="connsiteX1664" fmla="*/ 3579982 w 6530564"/>
              <a:gd name="connsiteY1664" fmla="*/ 5115687 h 6858000"/>
              <a:gd name="connsiteX1665" fmla="*/ 3572542 w 6530564"/>
              <a:gd name="connsiteY1665" fmla="*/ 5117210 h 6858000"/>
              <a:gd name="connsiteX1666" fmla="*/ 3574945 w 6530564"/>
              <a:gd name="connsiteY1666" fmla="*/ 5121368 h 6858000"/>
              <a:gd name="connsiteX1667" fmla="*/ 3565103 w 6530564"/>
              <a:gd name="connsiteY1667" fmla="*/ 5118731 h 6858000"/>
              <a:gd name="connsiteX1668" fmla="*/ 3561823 w 6530564"/>
              <a:gd name="connsiteY1668" fmla="*/ 5117852 h 6858000"/>
              <a:gd name="connsiteX1669" fmla="*/ 3547823 w 6530564"/>
              <a:gd name="connsiteY1669" fmla="*/ 5117617 h 6858000"/>
              <a:gd name="connsiteX1670" fmla="*/ 3534703 w 6530564"/>
              <a:gd name="connsiteY1670" fmla="*/ 5114101 h 6858000"/>
              <a:gd name="connsiteX1671" fmla="*/ 3524861 w 6530564"/>
              <a:gd name="connsiteY1671" fmla="*/ 5111464 h 6858000"/>
              <a:gd name="connsiteX1672" fmla="*/ 3505180 w 6530564"/>
              <a:gd name="connsiteY1672" fmla="*/ 5106191 h 6858000"/>
              <a:gd name="connsiteX1673" fmla="*/ 3496218 w 6530564"/>
              <a:gd name="connsiteY1673" fmla="*/ 5100273 h 6858000"/>
              <a:gd name="connsiteX1674" fmla="*/ 3500377 w 6530564"/>
              <a:gd name="connsiteY1674" fmla="*/ 5097872 h 6858000"/>
              <a:gd name="connsiteX1675" fmla="*/ 3504537 w 6530564"/>
              <a:gd name="connsiteY1675" fmla="*/ 5095471 h 6858000"/>
              <a:gd name="connsiteX1676" fmla="*/ 3501256 w 6530564"/>
              <a:gd name="connsiteY1676" fmla="*/ 5094592 h 6858000"/>
              <a:gd name="connsiteX1677" fmla="*/ 3497975 w 6530564"/>
              <a:gd name="connsiteY1677" fmla="*/ 5093714 h 6858000"/>
              <a:gd name="connsiteX1678" fmla="*/ 3493817 w 6530564"/>
              <a:gd name="connsiteY1678" fmla="*/ 5096115 h 6858000"/>
              <a:gd name="connsiteX1679" fmla="*/ 3489659 w 6530564"/>
              <a:gd name="connsiteY1679" fmla="*/ 5098516 h 6858000"/>
              <a:gd name="connsiteX1680" fmla="*/ 3488778 w 6530564"/>
              <a:gd name="connsiteY1680" fmla="*/ 5101796 h 6858000"/>
              <a:gd name="connsiteX1681" fmla="*/ 3504301 w 6530564"/>
              <a:gd name="connsiteY1681" fmla="*/ 5109471 h 6858000"/>
              <a:gd name="connsiteX1682" fmla="*/ 3507581 w 6530564"/>
              <a:gd name="connsiteY1682" fmla="*/ 5110349 h 6858000"/>
              <a:gd name="connsiteX1683" fmla="*/ 3520701 w 6530564"/>
              <a:gd name="connsiteY1683" fmla="*/ 5113865 h 6858000"/>
              <a:gd name="connsiteX1684" fmla="*/ 3527262 w 6530564"/>
              <a:gd name="connsiteY1684" fmla="*/ 5115624 h 6858000"/>
              <a:gd name="connsiteX1685" fmla="*/ 3509983 w 6530564"/>
              <a:gd name="connsiteY1685" fmla="*/ 5114509 h 6858000"/>
              <a:gd name="connsiteX1686" fmla="*/ 3489421 w 6530564"/>
              <a:gd name="connsiteY1686" fmla="*/ 5112516 h 6858000"/>
              <a:gd name="connsiteX1687" fmla="*/ 3483740 w 6530564"/>
              <a:gd name="connsiteY1687" fmla="*/ 5107478 h 6858000"/>
              <a:gd name="connsiteX1688" fmla="*/ 3477179 w 6530564"/>
              <a:gd name="connsiteY1688" fmla="*/ 5105719 h 6858000"/>
              <a:gd name="connsiteX1689" fmla="*/ 3460778 w 6530564"/>
              <a:gd name="connsiteY1689" fmla="*/ 5101325 h 6858000"/>
              <a:gd name="connsiteX1690" fmla="*/ 3464938 w 6530564"/>
              <a:gd name="connsiteY1690" fmla="*/ 5098924 h 6858000"/>
              <a:gd name="connsiteX1691" fmla="*/ 3465816 w 6530564"/>
              <a:gd name="connsiteY1691" fmla="*/ 5095643 h 6858000"/>
              <a:gd name="connsiteX1692" fmla="*/ 3462537 w 6530564"/>
              <a:gd name="connsiteY1692" fmla="*/ 5094765 h 6858000"/>
              <a:gd name="connsiteX1693" fmla="*/ 3459257 w 6530564"/>
              <a:gd name="connsiteY1693" fmla="*/ 5093886 h 6858000"/>
              <a:gd name="connsiteX1694" fmla="*/ 3455097 w 6530564"/>
              <a:gd name="connsiteY1694" fmla="*/ 5096287 h 6858000"/>
              <a:gd name="connsiteX1695" fmla="*/ 3451816 w 6530564"/>
              <a:gd name="connsiteY1695" fmla="*/ 5095409 h 6858000"/>
              <a:gd name="connsiteX1696" fmla="*/ 3448536 w 6530564"/>
              <a:gd name="connsiteY1696" fmla="*/ 5094529 h 6858000"/>
              <a:gd name="connsiteX1697" fmla="*/ 3434537 w 6530564"/>
              <a:gd name="connsiteY1697" fmla="*/ 5094294 h 6858000"/>
              <a:gd name="connsiteX1698" fmla="*/ 3418134 w 6530564"/>
              <a:gd name="connsiteY1698" fmla="*/ 5089898 h 6858000"/>
              <a:gd name="connsiteX1699" fmla="*/ 3415734 w 6530564"/>
              <a:gd name="connsiteY1699" fmla="*/ 5085739 h 6858000"/>
              <a:gd name="connsiteX1700" fmla="*/ 3419893 w 6530564"/>
              <a:gd name="connsiteY1700" fmla="*/ 5083337 h 6858000"/>
              <a:gd name="connsiteX1701" fmla="*/ 3460135 w 6530564"/>
              <a:gd name="connsiteY1701" fmla="*/ 5090605 h 6858000"/>
              <a:gd name="connsiteX1702" fmla="*/ 3463417 w 6530564"/>
              <a:gd name="connsiteY1702" fmla="*/ 5091485 h 6858000"/>
              <a:gd name="connsiteX1703" fmla="*/ 3461014 w 6530564"/>
              <a:gd name="connsiteY1703" fmla="*/ 5087326 h 6858000"/>
              <a:gd name="connsiteX1704" fmla="*/ 3420771 w 6530564"/>
              <a:gd name="connsiteY1704" fmla="*/ 5080058 h 6858000"/>
              <a:gd name="connsiteX1705" fmla="*/ 3416848 w 6530564"/>
              <a:gd name="connsiteY1705" fmla="*/ 5068459 h 6858000"/>
              <a:gd name="connsiteX1706" fmla="*/ 3382522 w 6530564"/>
              <a:gd name="connsiteY1706" fmla="*/ 5052230 h 6858000"/>
              <a:gd name="connsiteX1707" fmla="*/ 3258344 w 6530564"/>
              <a:gd name="connsiteY1707" fmla="*/ 4990831 h 6858000"/>
              <a:gd name="connsiteX1708" fmla="*/ 3255064 w 6530564"/>
              <a:gd name="connsiteY1708" fmla="*/ 4989952 h 6858000"/>
              <a:gd name="connsiteX1709" fmla="*/ 3251783 w 6530564"/>
              <a:gd name="connsiteY1709" fmla="*/ 4989072 h 6858000"/>
              <a:gd name="connsiteX1710" fmla="*/ 3254186 w 6530564"/>
              <a:gd name="connsiteY1710" fmla="*/ 4993232 h 6858000"/>
              <a:gd name="connsiteX1711" fmla="*/ 3375085 w 6530564"/>
              <a:gd name="connsiteY1711" fmla="*/ 5053753 h 6858000"/>
              <a:gd name="connsiteX1712" fmla="*/ 3371803 w 6530564"/>
              <a:gd name="connsiteY1712" fmla="*/ 5052874 h 6858000"/>
              <a:gd name="connsiteX1713" fmla="*/ 3376606 w 6530564"/>
              <a:gd name="connsiteY1713" fmla="*/ 5061192 h 6858000"/>
              <a:gd name="connsiteX1714" fmla="*/ 3366767 w 6530564"/>
              <a:gd name="connsiteY1714" fmla="*/ 5058555 h 6858000"/>
              <a:gd name="connsiteX1715" fmla="*/ 3367645 w 6530564"/>
              <a:gd name="connsiteY1715" fmla="*/ 5055275 h 6858000"/>
              <a:gd name="connsiteX1716" fmla="*/ 3364364 w 6530564"/>
              <a:gd name="connsiteY1716" fmla="*/ 5054397 h 6858000"/>
              <a:gd name="connsiteX1717" fmla="*/ 3361083 w 6530564"/>
              <a:gd name="connsiteY1717" fmla="*/ 5053517 h 6858000"/>
              <a:gd name="connsiteX1718" fmla="*/ 3360205 w 6530564"/>
              <a:gd name="connsiteY1718" fmla="*/ 5056798 h 6858000"/>
              <a:gd name="connsiteX1719" fmla="*/ 3344683 w 6530564"/>
              <a:gd name="connsiteY1719" fmla="*/ 5049123 h 6858000"/>
              <a:gd name="connsiteX1720" fmla="*/ 3338122 w 6530564"/>
              <a:gd name="connsiteY1720" fmla="*/ 5047364 h 6858000"/>
              <a:gd name="connsiteX1721" fmla="*/ 3328281 w 6530564"/>
              <a:gd name="connsiteY1721" fmla="*/ 5044727 h 6858000"/>
              <a:gd name="connsiteX1722" fmla="*/ 3325001 w 6530564"/>
              <a:gd name="connsiteY1722" fmla="*/ 5043849 h 6858000"/>
              <a:gd name="connsiteX1723" fmla="*/ 3322599 w 6530564"/>
              <a:gd name="connsiteY1723" fmla="*/ 5039690 h 6858000"/>
              <a:gd name="connsiteX1724" fmla="*/ 3316040 w 6530564"/>
              <a:gd name="connsiteY1724" fmla="*/ 5037932 h 6858000"/>
              <a:gd name="connsiteX1725" fmla="*/ 3311880 w 6530564"/>
              <a:gd name="connsiteY1725" fmla="*/ 5040333 h 6858000"/>
              <a:gd name="connsiteX1726" fmla="*/ 3233153 w 6530564"/>
              <a:gd name="connsiteY1726" fmla="*/ 5019238 h 6858000"/>
              <a:gd name="connsiteX1727" fmla="*/ 3198829 w 6530564"/>
              <a:gd name="connsiteY1727" fmla="*/ 5003009 h 6858000"/>
              <a:gd name="connsiteX1728" fmla="*/ 3201230 w 6530564"/>
              <a:gd name="connsiteY1728" fmla="*/ 5007168 h 6858000"/>
              <a:gd name="connsiteX1729" fmla="*/ 3137383 w 6530564"/>
              <a:gd name="connsiteY1729" fmla="*/ 4983030 h 6858000"/>
              <a:gd name="connsiteX1730" fmla="*/ 3133223 w 6530564"/>
              <a:gd name="connsiteY1730" fmla="*/ 4985431 h 6858000"/>
              <a:gd name="connsiteX1731" fmla="*/ 3117700 w 6530564"/>
              <a:gd name="connsiteY1731" fmla="*/ 4977756 h 6858000"/>
              <a:gd name="connsiteX1732" fmla="*/ 3115299 w 6530564"/>
              <a:gd name="connsiteY1732" fmla="*/ 4973596 h 6858000"/>
              <a:gd name="connsiteX1733" fmla="*/ 3107860 w 6530564"/>
              <a:gd name="connsiteY1733" fmla="*/ 4975119 h 6858000"/>
              <a:gd name="connsiteX1734" fmla="*/ 3089059 w 6530564"/>
              <a:gd name="connsiteY1734" fmla="*/ 4966565 h 6858000"/>
              <a:gd name="connsiteX1735" fmla="*/ 3085777 w 6530564"/>
              <a:gd name="connsiteY1735" fmla="*/ 4965684 h 6858000"/>
              <a:gd name="connsiteX1736" fmla="*/ 3076815 w 6530564"/>
              <a:gd name="connsiteY1736" fmla="*/ 4959768 h 6858000"/>
              <a:gd name="connsiteX1737" fmla="*/ 3073536 w 6530564"/>
              <a:gd name="connsiteY1737" fmla="*/ 4958890 h 6858000"/>
              <a:gd name="connsiteX1738" fmla="*/ 3070254 w 6530564"/>
              <a:gd name="connsiteY1738" fmla="*/ 4958011 h 6858000"/>
              <a:gd name="connsiteX1739" fmla="*/ 3018005 w 6530564"/>
              <a:gd name="connsiteY1739" fmla="*/ 4929948 h 6858000"/>
              <a:gd name="connsiteX1740" fmla="*/ 3008164 w 6530564"/>
              <a:gd name="connsiteY1740" fmla="*/ 4927311 h 6858000"/>
              <a:gd name="connsiteX1741" fmla="*/ 3004884 w 6530564"/>
              <a:gd name="connsiteY1741" fmla="*/ 4926433 h 6858000"/>
              <a:gd name="connsiteX1742" fmla="*/ 2991763 w 6530564"/>
              <a:gd name="connsiteY1742" fmla="*/ 4922918 h 6858000"/>
              <a:gd name="connsiteX1743" fmla="*/ 2959196 w 6530564"/>
              <a:gd name="connsiteY1743" fmla="*/ 4900127 h 6858000"/>
              <a:gd name="connsiteX1744" fmla="*/ 2832851 w 6530564"/>
              <a:gd name="connsiteY1744" fmla="*/ 4820566 h 6858000"/>
              <a:gd name="connsiteX1745" fmla="*/ 2829571 w 6530564"/>
              <a:gd name="connsiteY1745" fmla="*/ 4819688 h 6858000"/>
              <a:gd name="connsiteX1746" fmla="*/ 2827170 w 6530564"/>
              <a:gd name="connsiteY1746" fmla="*/ 4815530 h 6858000"/>
              <a:gd name="connsiteX1747" fmla="*/ 2790300 w 6530564"/>
              <a:gd name="connsiteY1747" fmla="*/ 4779282 h 6858000"/>
              <a:gd name="connsiteX1748" fmla="*/ 2753001 w 6530564"/>
              <a:gd name="connsiteY1748" fmla="*/ 4745754 h 6858000"/>
              <a:gd name="connsiteX1749" fmla="*/ 2753847 w 6530564"/>
              <a:gd name="connsiteY1749" fmla="*/ 4746386 h 6858000"/>
              <a:gd name="connsiteX1750" fmla="*/ 2763151 w 6530564"/>
              <a:gd name="connsiteY1750" fmla="*/ 4752669 h 6858000"/>
              <a:gd name="connsiteX1751" fmla="*/ 2768833 w 6530564"/>
              <a:gd name="connsiteY1751" fmla="*/ 4757708 h 6858000"/>
              <a:gd name="connsiteX1752" fmla="*/ 2789157 w 6530564"/>
              <a:gd name="connsiteY1752" fmla="*/ 4773703 h 6858000"/>
              <a:gd name="connsiteX1753" fmla="*/ 2824125 w 6530564"/>
              <a:gd name="connsiteY1753" fmla="*/ 4800649 h 6858000"/>
              <a:gd name="connsiteX1754" fmla="*/ 2829807 w 6530564"/>
              <a:gd name="connsiteY1754" fmla="*/ 4805687 h 6858000"/>
              <a:gd name="connsiteX1755" fmla="*/ 2835489 w 6530564"/>
              <a:gd name="connsiteY1755" fmla="*/ 4810727 h 6858000"/>
              <a:gd name="connsiteX1756" fmla="*/ 2839648 w 6530564"/>
              <a:gd name="connsiteY1756" fmla="*/ 4808324 h 6858000"/>
              <a:gd name="connsiteX1757" fmla="*/ 2829163 w 6530564"/>
              <a:gd name="connsiteY1757" fmla="*/ 4794968 h 6858000"/>
              <a:gd name="connsiteX1758" fmla="*/ 2825883 w 6530564"/>
              <a:gd name="connsiteY1758" fmla="*/ 4794088 h 6858000"/>
              <a:gd name="connsiteX1759" fmla="*/ 2773871 w 6530564"/>
              <a:gd name="connsiteY1759" fmla="*/ 4752025 h 6858000"/>
              <a:gd name="connsiteX1760" fmla="*/ 2770590 w 6530564"/>
              <a:gd name="connsiteY1760" fmla="*/ 4751147 h 6858000"/>
              <a:gd name="connsiteX1761" fmla="*/ 2757705 w 6530564"/>
              <a:gd name="connsiteY1761" fmla="*/ 4733631 h 6858000"/>
              <a:gd name="connsiteX1762" fmla="*/ 2740660 w 6530564"/>
              <a:gd name="connsiteY1762" fmla="*/ 4718516 h 6858000"/>
              <a:gd name="connsiteX1763" fmla="*/ 2706021 w 6530564"/>
              <a:gd name="connsiteY1763" fmla="*/ 4690338 h 6858000"/>
              <a:gd name="connsiteX1764" fmla="*/ 2678648 w 6530564"/>
              <a:gd name="connsiteY1764" fmla="*/ 4660537 h 6858000"/>
              <a:gd name="connsiteX1765" fmla="*/ 2682322 w 6530564"/>
              <a:gd name="connsiteY1765" fmla="*/ 4660696 h 6858000"/>
              <a:gd name="connsiteX1766" fmla="*/ 2556040 w 6530564"/>
              <a:gd name="connsiteY1766" fmla="*/ 4528415 h 6858000"/>
              <a:gd name="connsiteX1767" fmla="*/ 2556918 w 6530564"/>
              <a:gd name="connsiteY1767" fmla="*/ 4525136 h 6858000"/>
              <a:gd name="connsiteX1768" fmla="*/ 2553638 w 6530564"/>
              <a:gd name="connsiteY1768" fmla="*/ 4524257 h 6858000"/>
              <a:gd name="connsiteX1769" fmla="*/ 2550359 w 6530564"/>
              <a:gd name="connsiteY1769" fmla="*/ 4523378 h 6858000"/>
              <a:gd name="connsiteX1770" fmla="*/ 2544034 w 6530564"/>
              <a:gd name="connsiteY1770" fmla="*/ 4507619 h 6858000"/>
              <a:gd name="connsiteX1771" fmla="*/ 2505142 w 6530564"/>
              <a:gd name="connsiteY1771" fmla="*/ 4469072 h 6858000"/>
              <a:gd name="connsiteX1772" fmla="*/ 2514981 w 6530564"/>
              <a:gd name="connsiteY1772" fmla="*/ 4471709 h 6858000"/>
              <a:gd name="connsiteX1773" fmla="*/ 2494657 w 6530564"/>
              <a:gd name="connsiteY1773" fmla="*/ 4455716 h 6858000"/>
              <a:gd name="connsiteX1774" fmla="*/ 2498817 w 6530564"/>
              <a:gd name="connsiteY1774" fmla="*/ 4453313 h 6858000"/>
              <a:gd name="connsiteX1775" fmla="*/ 2453599 w 6530564"/>
              <a:gd name="connsiteY1775" fmla="*/ 4399008 h 6858000"/>
              <a:gd name="connsiteX1776" fmla="*/ 2454477 w 6530564"/>
              <a:gd name="connsiteY1776" fmla="*/ 4395729 h 6858000"/>
              <a:gd name="connsiteX1777" fmla="*/ 2424784 w 6530564"/>
              <a:gd name="connsiteY1777" fmla="*/ 4349098 h 6858000"/>
              <a:gd name="connsiteX1778" fmla="*/ 2387006 w 6530564"/>
              <a:gd name="connsiteY1778" fmla="*/ 4293271 h 6858000"/>
              <a:gd name="connsiteX1779" fmla="*/ 2372796 w 6530564"/>
              <a:gd name="connsiteY1779" fmla="*/ 4262654 h 6858000"/>
              <a:gd name="connsiteX1780" fmla="*/ 2354365 w 6530564"/>
              <a:gd name="connsiteY1780" fmla="*/ 4231786 h 6858000"/>
              <a:gd name="connsiteX1781" fmla="*/ 2357546 w 6530564"/>
              <a:gd name="connsiteY1781" fmla="*/ 4232639 h 6858000"/>
              <a:gd name="connsiteX1782" fmla="*/ 2355145 w 6530564"/>
              <a:gd name="connsiteY1782" fmla="*/ 4228480 h 6858000"/>
              <a:gd name="connsiteX1783" fmla="*/ 2349463 w 6530564"/>
              <a:gd name="connsiteY1783" fmla="*/ 4223441 h 6858000"/>
              <a:gd name="connsiteX1784" fmla="*/ 2352745 w 6530564"/>
              <a:gd name="connsiteY1784" fmla="*/ 4224320 h 6858000"/>
              <a:gd name="connsiteX1785" fmla="*/ 2338336 w 6530564"/>
              <a:gd name="connsiteY1785" fmla="*/ 4199366 h 6858000"/>
              <a:gd name="connsiteX1786" fmla="*/ 2335056 w 6530564"/>
              <a:gd name="connsiteY1786" fmla="*/ 4198486 h 6858000"/>
              <a:gd name="connsiteX1787" fmla="*/ 2329374 w 6530564"/>
              <a:gd name="connsiteY1787" fmla="*/ 4193448 h 6858000"/>
              <a:gd name="connsiteX1788" fmla="*/ 2335934 w 6530564"/>
              <a:gd name="connsiteY1788" fmla="*/ 4195206 h 6858000"/>
              <a:gd name="connsiteX1789" fmla="*/ 2328731 w 6530564"/>
              <a:gd name="connsiteY1789" fmla="*/ 4182729 h 6858000"/>
              <a:gd name="connsiteX1790" fmla="*/ 2332011 w 6530564"/>
              <a:gd name="connsiteY1790" fmla="*/ 4183607 h 6858000"/>
              <a:gd name="connsiteX1791" fmla="*/ 2335292 w 6530564"/>
              <a:gd name="connsiteY1791" fmla="*/ 4184486 h 6858000"/>
              <a:gd name="connsiteX1792" fmla="*/ 2336170 w 6530564"/>
              <a:gd name="connsiteY1792" fmla="*/ 4181206 h 6858000"/>
              <a:gd name="connsiteX1793" fmla="*/ 2329610 w 6530564"/>
              <a:gd name="connsiteY1793" fmla="*/ 4179448 h 6858000"/>
              <a:gd name="connsiteX1794" fmla="*/ 2326328 w 6530564"/>
              <a:gd name="connsiteY1794" fmla="*/ 4178569 h 6858000"/>
              <a:gd name="connsiteX1795" fmla="*/ 2323927 w 6530564"/>
              <a:gd name="connsiteY1795" fmla="*/ 4174411 h 6858000"/>
              <a:gd name="connsiteX1796" fmla="*/ 2324807 w 6530564"/>
              <a:gd name="connsiteY1796" fmla="*/ 4171130 h 6858000"/>
              <a:gd name="connsiteX1797" fmla="*/ 2325686 w 6530564"/>
              <a:gd name="connsiteY1797" fmla="*/ 4167850 h 6858000"/>
              <a:gd name="connsiteX1798" fmla="*/ 2322406 w 6530564"/>
              <a:gd name="connsiteY1798" fmla="*/ 4166970 h 6858000"/>
              <a:gd name="connsiteX1799" fmla="*/ 2319125 w 6530564"/>
              <a:gd name="connsiteY1799" fmla="*/ 4166091 h 6858000"/>
              <a:gd name="connsiteX1800" fmla="*/ 2315201 w 6530564"/>
              <a:gd name="connsiteY1800" fmla="*/ 4154494 h 6858000"/>
              <a:gd name="connsiteX1801" fmla="*/ 2318482 w 6530564"/>
              <a:gd name="connsiteY1801" fmla="*/ 4155373 h 6858000"/>
              <a:gd name="connsiteX1802" fmla="*/ 2316081 w 6530564"/>
              <a:gd name="connsiteY1802" fmla="*/ 4151212 h 6858000"/>
              <a:gd name="connsiteX1803" fmla="*/ 2313680 w 6530564"/>
              <a:gd name="connsiteY1803" fmla="*/ 4147053 h 6858000"/>
              <a:gd name="connsiteX1804" fmla="*/ 2307998 w 6530564"/>
              <a:gd name="connsiteY1804" fmla="*/ 4142015 h 6858000"/>
              <a:gd name="connsiteX1805" fmla="*/ 2311277 w 6530564"/>
              <a:gd name="connsiteY1805" fmla="*/ 4142893 h 6858000"/>
              <a:gd name="connsiteX1806" fmla="*/ 2308233 w 6530564"/>
              <a:gd name="connsiteY1806" fmla="*/ 4128016 h 6858000"/>
              <a:gd name="connsiteX1807" fmla="*/ 2314794 w 6530564"/>
              <a:gd name="connsiteY1807" fmla="*/ 4129773 h 6858000"/>
              <a:gd name="connsiteX1808" fmla="*/ 2308469 w 6530564"/>
              <a:gd name="connsiteY1808" fmla="*/ 4114014 h 6858000"/>
              <a:gd name="connsiteX1809" fmla="*/ 2311749 w 6530564"/>
              <a:gd name="connsiteY1809" fmla="*/ 4114894 h 6858000"/>
              <a:gd name="connsiteX1810" fmla="*/ 2314150 w 6530564"/>
              <a:gd name="connsiteY1810" fmla="*/ 4119054 h 6858000"/>
              <a:gd name="connsiteX1811" fmla="*/ 2317430 w 6530564"/>
              <a:gd name="connsiteY1811" fmla="*/ 4119932 h 6858000"/>
              <a:gd name="connsiteX1812" fmla="*/ 2315029 w 6530564"/>
              <a:gd name="connsiteY1812" fmla="*/ 4115773 h 6858000"/>
              <a:gd name="connsiteX1813" fmla="*/ 2312628 w 6530564"/>
              <a:gd name="connsiteY1813" fmla="*/ 4111613 h 6858000"/>
              <a:gd name="connsiteX1814" fmla="*/ 2306947 w 6530564"/>
              <a:gd name="connsiteY1814" fmla="*/ 4106575 h 6858000"/>
              <a:gd name="connsiteX1815" fmla="*/ 2305188 w 6530564"/>
              <a:gd name="connsiteY1815" fmla="*/ 4113136 h 6858000"/>
              <a:gd name="connsiteX1816" fmla="*/ 2302787 w 6530564"/>
              <a:gd name="connsiteY1816" fmla="*/ 4108977 h 6858000"/>
              <a:gd name="connsiteX1817" fmla="*/ 2287500 w 6530564"/>
              <a:gd name="connsiteY1817" fmla="*/ 4087301 h 6858000"/>
              <a:gd name="connsiteX1818" fmla="*/ 2287264 w 6530564"/>
              <a:gd name="connsiteY1818" fmla="*/ 4101302 h 6858000"/>
              <a:gd name="connsiteX1819" fmla="*/ 2280939 w 6530564"/>
              <a:gd name="connsiteY1819" fmla="*/ 4085543 h 6858000"/>
              <a:gd name="connsiteX1820" fmla="*/ 2273736 w 6530564"/>
              <a:gd name="connsiteY1820" fmla="*/ 4073065 h 6858000"/>
              <a:gd name="connsiteX1821" fmla="*/ 2272213 w 6530564"/>
              <a:gd name="connsiteY1821" fmla="*/ 4065626 h 6858000"/>
              <a:gd name="connsiteX1822" fmla="*/ 2278774 w 6530564"/>
              <a:gd name="connsiteY1822" fmla="*/ 4067385 h 6858000"/>
              <a:gd name="connsiteX1823" fmla="*/ 2269169 w 6530564"/>
              <a:gd name="connsiteY1823" fmla="*/ 4050747 h 6858000"/>
              <a:gd name="connsiteX1824" fmla="*/ 2273328 w 6530564"/>
              <a:gd name="connsiteY1824" fmla="*/ 4048346 h 6858000"/>
              <a:gd name="connsiteX1825" fmla="*/ 2275729 w 6530564"/>
              <a:gd name="connsiteY1825" fmla="*/ 4052506 h 6858000"/>
              <a:gd name="connsiteX1826" fmla="*/ 2279010 w 6530564"/>
              <a:gd name="connsiteY1826" fmla="*/ 4053384 h 6858000"/>
              <a:gd name="connsiteX1827" fmla="*/ 2279888 w 6530564"/>
              <a:gd name="connsiteY1827" fmla="*/ 4050103 h 6858000"/>
              <a:gd name="connsiteX1828" fmla="*/ 2277487 w 6530564"/>
              <a:gd name="connsiteY1828" fmla="*/ 4045945 h 6858000"/>
              <a:gd name="connsiteX1829" fmla="*/ 2274206 w 6530564"/>
              <a:gd name="connsiteY1829" fmla="*/ 4045065 h 6858000"/>
              <a:gd name="connsiteX1830" fmla="*/ 2271805 w 6530564"/>
              <a:gd name="connsiteY1830" fmla="*/ 4040907 h 6858000"/>
              <a:gd name="connsiteX1831" fmla="*/ 2269404 w 6530564"/>
              <a:gd name="connsiteY1831" fmla="*/ 4036747 h 6858000"/>
              <a:gd name="connsiteX1832" fmla="*/ 2270282 w 6530564"/>
              <a:gd name="connsiteY1832" fmla="*/ 4033467 h 6858000"/>
              <a:gd name="connsiteX1833" fmla="*/ 2267003 w 6530564"/>
              <a:gd name="connsiteY1833" fmla="*/ 4032587 h 6858000"/>
              <a:gd name="connsiteX1834" fmla="*/ 2267881 w 6530564"/>
              <a:gd name="connsiteY1834" fmla="*/ 4029308 h 6858000"/>
              <a:gd name="connsiteX1835" fmla="*/ 2271162 w 6530564"/>
              <a:gd name="connsiteY1835" fmla="*/ 4030186 h 6858000"/>
              <a:gd name="connsiteX1836" fmla="*/ 2276843 w 6530564"/>
              <a:gd name="connsiteY1836" fmla="*/ 4035224 h 6858000"/>
              <a:gd name="connsiteX1837" fmla="*/ 2281647 w 6530564"/>
              <a:gd name="connsiteY1837" fmla="*/ 4043544 h 6858000"/>
              <a:gd name="connsiteX1838" fmla="*/ 2282526 w 6530564"/>
              <a:gd name="connsiteY1838" fmla="*/ 4040263 h 6858000"/>
              <a:gd name="connsiteX1839" fmla="*/ 2280124 w 6530564"/>
              <a:gd name="connsiteY1839" fmla="*/ 4036104 h 6858000"/>
              <a:gd name="connsiteX1840" fmla="*/ 2272919 w 6530564"/>
              <a:gd name="connsiteY1840" fmla="*/ 4023625 h 6858000"/>
              <a:gd name="connsiteX1841" fmla="*/ 2269640 w 6530564"/>
              <a:gd name="connsiteY1841" fmla="*/ 4022747 h 6858000"/>
              <a:gd name="connsiteX1842" fmla="*/ 2261556 w 6530564"/>
              <a:gd name="connsiteY1842" fmla="*/ 4013550 h 6858000"/>
              <a:gd name="connsiteX1843" fmla="*/ 2240180 w 6530564"/>
              <a:gd name="connsiteY1843" fmla="*/ 3962117 h 6858000"/>
              <a:gd name="connsiteX1844" fmla="*/ 2241060 w 6530564"/>
              <a:gd name="connsiteY1844" fmla="*/ 3958836 h 6858000"/>
              <a:gd name="connsiteX1845" fmla="*/ 2238659 w 6530564"/>
              <a:gd name="connsiteY1845" fmla="*/ 3954676 h 6858000"/>
              <a:gd name="connsiteX1846" fmla="*/ 2234735 w 6530564"/>
              <a:gd name="connsiteY1846" fmla="*/ 3943079 h 6858000"/>
              <a:gd name="connsiteX1847" fmla="*/ 2232334 w 6530564"/>
              <a:gd name="connsiteY1847" fmla="*/ 3938919 h 6858000"/>
              <a:gd name="connsiteX1848" fmla="*/ 2228410 w 6530564"/>
              <a:gd name="connsiteY1848" fmla="*/ 3927321 h 6858000"/>
              <a:gd name="connsiteX1849" fmla="*/ 2224486 w 6530564"/>
              <a:gd name="connsiteY1849" fmla="*/ 3915722 h 6858000"/>
              <a:gd name="connsiteX1850" fmla="*/ 2215995 w 6530564"/>
              <a:gd name="connsiteY1850" fmla="*/ 3881804 h 6858000"/>
              <a:gd name="connsiteX1851" fmla="*/ 2195263 w 6530564"/>
              <a:gd name="connsiteY1851" fmla="*/ 3841091 h 6858000"/>
              <a:gd name="connsiteX1852" fmla="*/ 2191339 w 6530564"/>
              <a:gd name="connsiteY1852" fmla="*/ 3829493 h 6858000"/>
              <a:gd name="connsiteX1853" fmla="*/ 2188651 w 6530564"/>
              <a:gd name="connsiteY1853" fmla="*/ 3836242 h 6858000"/>
              <a:gd name="connsiteX1854" fmla="*/ 2188075 w 6530564"/>
              <a:gd name="connsiteY1854" fmla="*/ 3835811 h 6858000"/>
              <a:gd name="connsiteX1855" fmla="*/ 2194554 w 6530564"/>
              <a:gd name="connsiteY1855" fmla="*/ 3858195 h 6858000"/>
              <a:gd name="connsiteX1856" fmla="*/ 2198532 w 6530564"/>
              <a:gd name="connsiteY1856" fmla="*/ 3875169 h 6858000"/>
              <a:gd name="connsiteX1857" fmla="*/ 2200656 w 6530564"/>
              <a:gd name="connsiteY1857" fmla="*/ 3881649 h 6858000"/>
              <a:gd name="connsiteX1858" fmla="*/ 2210722 w 6530564"/>
              <a:gd name="connsiteY1858" fmla="*/ 3901486 h 6858000"/>
              <a:gd name="connsiteX1859" fmla="*/ 2217047 w 6530564"/>
              <a:gd name="connsiteY1859" fmla="*/ 3917243 h 6858000"/>
              <a:gd name="connsiteX1860" fmla="*/ 2213766 w 6530564"/>
              <a:gd name="connsiteY1860" fmla="*/ 3916364 h 6858000"/>
              <a:gd name="connsiteX1861" fmla="*/ 2214644 w 6530564"/>
              <a:gd name="connsiteY1861" fmla="*/ 3913085 h 6858000"/>
              <a:gd name="connsiteX1862" fmla="*/ 2211364 w 6530564"/>
              <a:gd name="connsiteY1862" fmla="*/ 3912205 h 6858000"/>
              <a:gd name="connsiteX1863" fmla="*/ 2210486 w 6530564"/>
              <a:gd name="connsiteY1863" fmla="*/ 3915486 h 6858000"/>
              <a:gd name="connsiteX1864" fmla="*/ 2212887 w 6530564"/>
              <a:gd name="connsiteY1864" fmla="*/ 3919646 h 6858000"/>
              <a:gd name="connsiteX1865" fmla="*/ 2222728 w 6530564"/>
              <a:gd name="connsiteY1865" fmla="*/ 3922281 h 6858000"/>
              <a:gd name="connsiteX1866" fmla="*/ 2226652 w 6530564"/>
              <a:gd name="connsiteY1866" fmla="*/ 3933880 h 6858000"/>
              <a:gd name="connsiteX1867" fmla="*/ 2224895 w 6530564"/>
              <a:gd name="connsiteY1867" fmla="*/ 3940442 h 6858000"/>
              <a:gd name="connsiteX1868" fmla="*/ 2221613 w 6530564"/>
              <a:gd name="connsiteY1868" fmla="*/ 3939563 h 6858000"/>
              <a:gd name="connsiteX1869" fmla="*/ 2224015 w 6530564"/>
              <a:gd name="connsiteY1869" fmla="*/ 3943721 h 6858000"/>
              <a:gd name="connsiteX1870" fmla="*/ 2227296 w 6530564"/>
              <a:gd name="connsiteY1870" fmla="*/ 3944601 h 6858000"/>
              <a:gd name="connsiteX1871" fmla="*/ 2232977 w 6530564"/>
              <a:gd name="connsiteY1871" fmla="*/ 3949639 h 6858000"/>
              <a:gd name="connsiteX1872" fmla="*/ 2234499 w 6530564"/>
              <a:gd name="connsiteY1872" fmla="*/ 3957077 h 6858000"/>
              <a:gd name="connsiteX1873" fmla="*/ 2233619 w 6530564"/>
              <a:gd name="connsiteY1873" fmla="*/ 3960358 h 6858000"/>
              <a:gd name="connsiteX1874" fmla="*/ 2236901 w 6530564"/>
              <a:gd name="connsiteY1874" fmla="*/ 3961237 h 6858000"/>
              <a:gd name="connsiteX1875" fmla="*/ 2239302 w 6530564"/>
              <a:gd name="connsiteY1875" fmla="*/ 3965397 h 6858000"/>
              <a:gd name="connsiteX1876" fmla="*/ 2257398 w 6530564"/>
              <a:gd name="connsiteY1876" fmla="*/ 4015951 h 6858000"/>
              <a:gd name="connsiteX1877" fmla="*/ 2259799 w 6530564"/>
              <a:gd name="connsiteY1877" fmla="*/ 4020111 h 6858000"/>
              <a:gd name="connsiteX1878" fmla="*/ 2263079 w 6530564"/>
              <a:gd name="connsiteY1878" fmla="*/ 4020990 h 6858000"/>
              <a:gd name="connsiteX1879" fmla="*/ 2262200 w 6530564"/>
              <a:gd name="connsiteY1879" fmla="*/ 4024269 h 6858000"/>
              <a:gd name="connsiteX1880" fmla="*/ 2258920 w 6530564"/>
              <a:gd name="connsiteY1880" fmla="*/ 4023391 h 6858000"/>
              <a:gd name="connsiteX1881" fmla="*/ 2261086 w 6530564"/>
              <a:gd name="connsiteY1881" fmla="*/ 4041551 h 6858000"/>
              <a:gd name="connsiteX1882" fmla="*/ 2264367 w 6530564"/>
              <a:gd name="connsiteY1882" fmla="*/ 4042429 h 6858000"/>
              <a:gd name="connsiteX1883" fmla="*/ 2255405 w 6530564"/>
              <a:gd name="connsiteY1883" fmla="*/ 4036511 h 6858000"/>
              <a:gd name="connsiteX1884" fmla="*/ 2268055 w 6530564"/>
              <a:gd name="connsiteY1884" fmla="*/ 4068027 h 6858000"/>
              <a:gd name="connsiteX1885" fmla="*/ 2276781 w 6530564"/>
              <a:gd name="connsiteY1885" fmla="*/ 4087944 h 6858000"/>
              <a:gd name="connsiteX1886" fmla="*/ 2285507 w 6530564"/>
              <a:gd name="connsiteY1886" fmla="*/ 4107863 h 6858000"/>
              <a:gd name="connsiteX1887" fmla="*/ 2303838 w 6530564"/>
              <a:gd name="connsiteY1887" fmla="*/ 4144416 h 6858000"/>
              <a:gd name="connsiteX1888" fmla="*/ 2307761 w 6530564"/>
              <a:gd name="connsiteY1888" fmla="*/ 4156015 h 6858000"/>
              <a:gd name="connsiteX1889" fmla="*/ 2312564 w 6530564"/>
              <a:gd name="connsiteY1889" fmla="*/ 4164333 h 6858000"/>
              <a:gd name="connsiteX1890" fmla="*/ 2314087 w 6530564"/>
              <a:gd name="connsiteY1890" fmla="*/ 4171772 h 6858000"/>
              <a:gd name="connsiteX1891" fmla="*/ 2321291 w 6530564"/>
              <a:gd name="connsiteY1891" fmla="*/ 4184250 h 6858000"/>
              <a:gd name="connsiteX1892" fmla="*/ 2325215 w 6530564"/>
              <a:gd name="connsiteY1892" fmla="*/ 4195849 h 6858000"/>
              <a:gd name="connsiteX1893" fmla="*/ 2333297 w 6530564"/>
              <a:gd name="connsiteY1893" fmla="*/ 4205047 h 6858000"/>
              <a:gd name="connsiteX1894" fmla="*/ 2332419 w 6530564"/>
              <a:gd name="connsiteY1894" fmla="*/ 4208327 h 6858000"/>
              <a:gd name="connsiteX1895" fmla="*/ 2391338 w 6530564"/>
              <a:gd name="connsiteY1895" fmla="*/ 4329589 h 6858000"/>
              <a:gd name="connsiteX1896" fmla="*/ 2390458 w 6530564"/>
              <a:gd name="connsiteY1896" fmla="*/ 4332868 h 6858000"/>
              <a:gd name="connsiteX1897" fmla="*/ 2389579 w 6530564"/>
              <a:gd name="connsiteY1897" fmla="*/ 4336150 h 6858000"/>
              <a:gd name="connsiteX1898" fmla="*/ 2384777 w 6530564"/>
              <a:gd name="connsiteY1898" fmla="*/ 4327831 h 6858000"/>
              <a:gd name="connsiteX1899" fmla="*/ 2379973 w 6530564"/>
              <a:gd name="connsiteY1899" fmla="*/ 4319511 h 6858000"/>
              <a:gd name="connsiteX1900" fmla="*/ 2375173 w 6530564"/>
              <a:gd name="connsiteY1900" fmla="*/ 4311195 h 6858000"/>
              <a:gd name="connsiteX1901" fmla="*/ 2371891 w 6530564"/>
              <a:gd name="connsiteY1901" fmla="*/ 4310315 h 6858000"/>
              <a:gd name="connsiteX1902" fmla="*/ 2359884 w 6530564"/>
              <a:gd name="connsiteY1902" fmla="*/ 4289519 h 6858000"/>
              <a:gd name="connsiteX1903" fmla="*/ 2356605 w 6530564"/>
              <a:gd name="connsiteY1903" fmla="*/ 4288639 h 6858000"/>
              <a:gd name="connsiteX1904" fmla="*/ 2355725 w 6530564"/>
              <a:gd name="connsiteY1904" fmla="*/ 4291921 h 6858000"/>
              <a:gd name="connsiteX1905" fmla="*/ 2358127 w 6530564"/>
              <a:gd name="connsiteY1905" fmla="*/ 4296080 h 6858000"/>
              <a:gd name="connsiteX1906" fmla="*/ 2360528 w 6530564"/>
              <a:gd name="connsiteY1906" fmla="*/ 4300238 h 6858000"/>
              <a:gd name="connsiteX1907" fmla="*/ 2362929 w 6530564"/>
              <a:gd name="connsiteY1907" fmla="*/ 4304398 h 6858000"/>
              <a:gd name="connsiteX1908" fmla="*/ 2367731 w 6530564"/>
              <a:gd name="connsiteY1908" fmla="*/ 4312715 h 6858000"/>
              <a:gd name="connsiteX1909" fmla="*/ 2359695 w 6530564"/>
              <a:gd name="connsiteY1909" fmla="*/ 4299246 h 6858000"/>
              <a:gd name="connsiteX1910" fmla="*/ 2353339 w 6530564"/>
              <a:gd name="connsiteY1910" fmla="*/ 4287828 h 6858000"/>
              <a:gd name="connsiteX1911" fmla="*/ 2353323 w 6530564"/>
              <a:gd name="connsiteY1911" fmla="*/ 4287760 h 6858000"/>
              <a:gd name="connsiteX1912" fmla="*/ 2353292 w 6530564"/>
              <a:gd name="connsiteY1912" fmla="*/ 4287741 h 6858000"/>
              <a:gd name="connsiteX1913" fmla="*/ 2352724 w 6530564"/>
              <a:gd name="connsiteY1913" fmla="*/ 4286721 h 6858000"/>
              <a:gd name="connsiteX1914" fmla="*/ 2358361 w 6530564"/>
              <a:gd name="connsiteY1914" fmla="*/ 4282080 h 6858000"/>
              <a:gd name="connsiteX1915" fmla="*/ 2331068 w 6530564"/>
              <a:gd name="connsiteY1915" fmla="*/ 4239607 h 6858000"/>
              <a:gd name="connsiteX1916" fmla="*/ 2330190 w 6530564"/>
              <a:gd name="connsiteY1916" fmla="*/ 4242888 h 6858000"/>
              <a:gd name="connsiteX1917" fmla="*/ 2322985 w 6530564"/>
              <a:gd name="connsiteY1917" fmla="*/ 4230410 h 6858000"/>
              <a:gd name="connsiteX1918" fmla="*/ 2323865 w 6530564"/>
              <a:gd name="connsiteY1918" fmla="*/ 4227129 h 6858000"/>
              <a:gd name="connsiteX1919" fmla="*/ 2320584 w 6530564"/>
              <a:gd name="connsiteY1919" fmla="*/ 4226251 h 6858000"/>
              <a:gd name="connsiteX1920" fmla="*/ 2321464 w 6530564"/>
              <a:gd name="connsiteY1920" fmla="*/ 4222972 h 6858000"/>
              <a:gd name="connsiteX1921" fmla="*/ 2316660 w 6530564"/>
              <a:gd name="connsiteY1921" fmla="*/ 4214652 h 6858000"/>
              <a:gd name="connsiteX1922" fmla="*/ 2310979 w 6530564"/>
              <a:gd name="connsiteY1922" fmla="*/ 4209615 h 6858000"/>
              <a:gd name="connsiteX1923" fmla="*/ 2308578 w 6530564"/>
              <a:gd name="connsiteY1923" fmla="*/ 4205456 h 6858000"/>
              <a:gd name="connsiteX1924" fmla="*/ 2301373 w 6530564"/>
              <a:gd name="connsiteY1924" fmla="*/ 4192977 h 6858000"/>
              <a:gd name="connsiteX1925" fmla="*/ 2298093 w 6530564"/>
              <a:gd name="connsiteY1925" fmla="*/ 4192099 h 6858000"/>
              <a:gd name="connsiteX1926" fmla="*/ 2295692 w 6530564"/>
              <a:gd name="connsiteY1926" fmla="*/ 4187939 h 6858000"/>
              <a:gd name="connsiteX1927" fmla="*/ 2277360 w 6530564"/>
              <a:gd name="connsiteY1927" fmla="*/ 4151385 h 6858000"/>
              <a:gd name="connsiteX1928" fmla="*/ 2281520 w 6530564"/>
              <a:gd name="connsiteY1928" fmla="*/ 4148984 h 6858000"/>
              <a:gd name="connsiteX1929" fmla="*/ 2283921 w 6530564"/>
              <a:gd name="connsiteY1929" fmla="*/ 4153142 h 6858000"/>
              <a:gd name="connsiteX1930" fmla="*/ 2286322 w 6530564"/>
              <a:gd name="connsiteY1930" fmla="*/ 4157302 h 6858000"/>
              <a:gd name="connsiteX1931" fmla="*/ 2287202 w 6530564"/>
              <a:gd name="connsiteY1931" fmla="*/ 4154022 h 6858000"/>
              <a:gd name="connsiteX1932" fmla="*/ 2284799 w 6530564"/>
              <a:gd name="connsiteY1932" fmla="*/ 4149863 h 6858000"/>
              <a:gd name="connsiteX1933" fmla="*/ 2282398 w 6530564"/>
              <a:gd name="connsiteY1933" fmla="*/ 4145704 h 6858000"/>
              <a:gd name="connsiteX1934" fmla="*/ 2279118 w 6530564"/>
              <a:gd name="connsiteY1934" fmla="*/ 4144824 h 6858000"/>
              <a:gd name="connsiteX1935" fmla="*/ 2275837 w 6530564"/>
              <a:gd name="connsiteY1935" fmla="*/ 4143945 h 6858000"/>
              <a:gd name="connsiteX1936" fmla="*/ 2260788 w 6530564"/>
              <a:gd name="connsiteY1936" fmla="*/ 4108270 h 6858000"/>
              <a:gd name="connsiteX1937" fmla="*/ 2257507 w 6530564"/>
              <a:gd name="connsiteY1937" fmla="*/ 4107391 h 6858000"/>
              <a:gd name="connsiteX1938" fmla="*/ 2229163 w 6530564"/>
              <a:gd name="connsiteY1938" fmla="*/ 4029480 h 6858000"/>
              <a:gd name="connsiteX1939" fmla="*/ 2191448 w 6530564"/>
              <a:gd name="connsiteY1939" fmla="*/ 3920932 h 6858000"/>
              <a:gd name="connsiteX1940" fmla="*/ 2183600 w 6530564"/>
              <a:gd name="connsiteY1940" fmla="*/ 3897734 h 6858000"/>
              <a:gd name="connsiteX1941" fmla="*/ 2184480 w 6530564"/>
              <a:gd name="connsiteY1941" fmla="*/ 3894454 h 6858000"/>
              <a:gd name="connsiteX1942" fmla="*/ 2183836 w 6530564"/>
              <a:gd name="connsiteY1942" fmla="*/ 3883736 h 6858000"/>
              <a:gd name="connsiteX1943" fmla="*/ 2181435 w 6530564"/>
              <a:gd name="connsiteY1943" fmla="*/ 3879574 h 6858000"/>
              <a:gd name="connsiteX1944" fmla="*/ 2180556 w 6530564"/>
              <a:gd name="connsiteY1944" fmla="*/ 3882855 h 6858000"/>
              <a:gd name="connsiteX1945" fmla="*/ 2164217 w 6530564"/>
              <a:gd name="connsiteY1945" fmla="*/ 3825741 h 6858000"/>
              <a:gd name="connsiteX1946" fmla="*/ 2151803 w 6530564"/>
              <a:gd name="connsiteY1946" fmla="*/ 3780225 h 6858000"/>
              <a:gd name="connsiteX1947" fmla="*/ 2151319 w 6530564"/>
              <a:gd name="connsiteY1947" fmla="*/ 3777854 h 6858000"/>
              <a:gd name="connsiteX1948" fmla="*/ 2151009 w 6530564"/>
              <a:gd name="connsiteY1948" fmla="*/ 3776873 h 6858000"/>
              <a:gd name="connsiteX1949" fmla="*/ 2132922 w 6530564"/>
              <a:gd name="connsiteY1949" fmla="*/ 3694412 h 6858000"/>
              <a:gd name="connsiteX1950" fmla="*/ 2132655 w 6530564"/>
              <a:gd name="connsiteY1950" fmla="*/ 3694230 h 6858000"/>
              <a:gd name="connsiteX1951" fmla="*/ 2130626 w 6530564"/>
              <a:gd name="connsiteY1951" fmla="*/ 3683943 h 6858000"/>
              <a:gd name="connsiteX1952" fmla="*/ 2101976 w 6530564"/>
              <a:gd name="connsiteY1952" fmla="*/ 3553318 h 6858000"/>
              <a:gd name="connsiteX1953" fmla="*/ 2087236 w 6530564"/>
              <a:gd name="connsiteY1953" fmla="*/ 3095430 h 6858000"/>
              <a:gd name="connsiteX1954" fmla="*/ 2061056 w 6530564"/>
              <a:gd name="connsiteY1954" fmla="*/ 3512229 h 6858000"/>
              <a:gd name="connsiteX1955" fmla="*/ 2059495 w 6530564"/>
              <a:gd name="connsiteY1955" fmla="*/ 3512181 h 6858000"/>
              <a:gd name="connsiteX1956" fmla="*/ 2065891 w 6530564"/>
              <a:gd name="connsiteY1956" fmla="*/ 3549772 h 6858000"/>
              <a:gd name="connsiteX1957" fmla="*/ 2079120 w 6530564"/>
              <a:gd name="connsiteY1957" fmla="*/ 3644728 h 6858000"/>
              <a:gd name="connsiteX1958" fmla="*/ 2083923 w 6530564"/>
              <a:gd name="connsiteY1958" fmla="*/ 3653046 h 6858000"/>
              <a:gd name="connsiteX1959" fmla="*/ 2080643 w 6530564"/>
              <a:gd name="connsiteY1959" fmla="*/ 3652168 h 6858000"/>
              <a:gd name="connsiteX1960" fmla="*/ 2093056 w 6530564"/>
              <a:gd name="connsiteY1960" fmla="*/ 3697684 h 6858000"/>
              <a:gd name="connsiteX1961" fmla="*/ 2093464 w 6530564"/>
              <a:gd name="connsiteY1961" fmla="*/ 3722403 h 6858000"/>
              <a:gd name="connsiteX1962" fmla="*/ 2100904 w 6530564"/>
              <a:gd name="connsiteY1962" fmla="*/ 3720880 h 6858000"/>
              <a:gd name="connsiteX1963" fmla="*/ 2106350 w 6530564"/>
              <a:gd name="connsiteY1963" fmla="*/ 3739919 h 6858000"/>
              <a:gd name="connsiteX1964" fmla="*/ 2100433 w 6530564"/>
              <a:gd name="connsiteY1964" fmla="*/ 3748881 h 6858000"/>
              <a:gd name="connsiteX1965" fmla="*/ 2129421 w 6530564"/>
              <a:gd name="connsiteY1965" fmla="*/ 3837513 h 6858000"/>
              <a:gd name="connsiteX1966" fmla="*/ 2130944 w 6530564"/>
              <a:gd name="connsiteY1966" fmla="*/ 3844951 h 6858000"/>
              <a:gd name="connsiteX1967" fmla="*/ 2133346 w 6530564"/>
              <a:gd name="connsiteY1967" fmla="*/ 3849111 h 6858000"/>
              <a:gd name="connsiteX1968" fmla="*/ 2134224 w 6530564"/>
              <a:gd name="connsiteY1968" fmla="*/ 3845831 h 6858000"/>
              <a:gd name="connsiteX1969" fmla="*/ 2135102 w 6530564"/>
              <a:gd name="connsiteY1969" fmla="*/ 3842550 h 6858000"/>
              <a:gd name="connsiteX1970" fmla="*/ 2165614 w 6530564"/>
              <a:gd name="connsiteY1970" fmla="*/ 3938620 h 6858000"/>
              <a:gd name="connsiteX1971" fmla="*/ 2159697 w 6530564"/>
              <a:gd name="connsiteY1971" fmla="*/ 3947583 h 6858000"/>
              <a:gd name="connsiteX1972" fmla="*/ 2219023 w 6530564"/>
              <a:gd name="connsiteY1972" fmla="*/ 4093565 h 6858000"/>
              <a:gd name="connsiteX1973" fmla="*/ 2289069 w 6530564"/>
              <a:gd name="connsiteY1973" fmla="*/ 4238901 h 6858000"/>
              <a:gd name="connsiteX1974" fmla="*/ 2269214 w 6530564"/>
              <a:gd name="connsiteY1974" fmla="*/ 4194907 h 6858000"/>
              <a:gd name="connsiteX1975" fmla="*/ 2268572 w 6530564"/>
              <a:gd name="connsiteY1975" fmla="*/ 4184188 h 6858000"/>
              <a:gd name="connsiteX1976" fmla="*/ 2224939 w 6530564"/>
              <a:gd name="connsiteY1976" fmla="*/ 4084603 h 6858000"/>
              <a:gd name="connsiteX1977" fmla="*/ 2176741 w 6530564"/>
              <a:gd name="connsiteY1977" fmla="*/ 3962696 h 6858000"/>
              <a:gd name="connsiteX1978" fmla="*/ 2176977 w 6530564"/>
              <a:gd name="connsiteY1978" fmla="*/ 3948697 h 6858000"/>
              <a:gd name="connsiteX1979" fmla="*/ 2152556 w 6530564"/>
              <a:gd name="connsiteY1979" fmla="*/ 3882385 h 6858000"/>
              <a:gd name="connsiteX1980" fmla="*/ 2154313 w 6530564"/>
              <a:gd name="connsiteY1980" fmla="*/ 3875824 h 6858000"/>
              <a:gd name="connsiteX1981" fmla="*/ 2147753 w 6530564"/>
              <a:gd name="connsiteY1981" fmla="*/ 3874066 h 6858000"/>
              <a:gd name="connsiteX1982" fmla="*/ 2128605 w 6530564"/>
              <a:gd name="connsiteY1982" fmla="*/ 3788073 h 6858000"/>
              <a:gd name="connsiteX1983" fmla="*/ 2132530 w 6530564"/>
              <a:gd name="connsiteY1983" fmla="*/ 3799672 h 6858000"/>
              <a:gd name="connsiteX1984" fmla="*/ 2145180 w 6530564"/>
              <a:gd name="connsiteY1984" fmla="*/ 3831186 h 6858000"/>
              <a:gd name="connsiteX1985" fmla="*/ 2168079 w 6530564"/>
              <a:gd name="connsiteY1985" fmla="*/ 3890059 h 6858000"/>
              <a:gd name="connsiteX1986" fmla="*/ 2169600 w 6530564"/>
              <a:gd name="connsiteY1986" fmla="*/ 3897500 h 6858000"/>
              <a:gd name="connsiteX1987" fmla="*/ 2167841 w 6530564"/>
              <a:gd name="connsiteY1987" fmla="*/ 3904059 h 6858000"/>
              <a:gd name="connsiteX1988" fmla="*/ 2179849 w 6530564"/>
              <a:gd name="connsiteY1988" fmla="*/ 3924856 h 6858000"/>
              <a:gd name="connsiteX1989" fmla="*/ 2190097 w 6530564"/>
              <a:gd name="connsiteY1989" fmla="*/ 3952213 h 6858000"/>
              <a:gd name="connsiteX1990" fmla="*/ 2201633 w 6530564"/>
              <a:gd name="connsiteY1990" fmla="*/ 4001009 h 6858000"/>
              <a:gd name="connsiteX1991" fmla="*/ 2204914 w 6530564"/>
              <a:gd name="connsiteY1991" fmla="*/ 4001887 h 6858000"/>
              <a:gd name="connsiteX1992" fmla="*/ 2211239 w 6530564"/>
              <a:gd name="connsiteY1992" fmla="*/ 4017646 h 6858000"/>
              <a:gd name="connsiteX1993" fmla="*/ 2213640 w 6530564"/>
              <a:gd name="connsiteY1993" fmla="*/ 4021805 h 6858000"/>
              <a:gd name="connsiteX1994" fmla="*/ 2226290 w 6530564"/>
              <a:gd name="connsiteY1994" fmla="*/ 4053321 h 6858000"/>
              <a:gd name="connsiteX1995" fmla="*/ 2232615 w 6530564"/>
              <a:gd name="connsiteY1995" fmla="*/ 4069080 h 6858000"/>
              <a:gd name="connsiteX1996" fmla="*/ 2251590 w 6530564"/>
              <a:gd name="connsiteY1996" fmla="*/ 4116353 h 6858000"/>
              <a:gd name="connsiteX1997" fmla="*/ 2260316 w 6530564"/>
              <a:gd name="connsiteY1997" fmla="*/ 4136270 h 6858000"/>
              <a:gd name="connsiteX1998" fmla="*/ 2259437 w 6530564"/>
              <a:gd name="connsiteY1998" fmla="*/ 4139550 h 6858000"/>
              <a:gd name="connsiteX1999" fmla="*/ 2261839 w 6530564"/>
              <a:gd name="connsiteY1999" fmla="*/ 4143710 h 6858000"/>
              <a:gd name="connsiteX2000" fmla="*/ 2265118 w 6530564"/>
              <a:gd name="connsiteY2000" fmla="*/ 4144590 h 6858000"/>
              <a:gd name="connsiteX2001" fmla="*/ 2264239 w 6530564"/>
              <a:gd name="connsiteY2001" fmla="*/ 4147869 h 6858000"/>
              <a:gd name="connsiteX2002" fmla="*/ 2303304 w 6530564"/>
              <a:gd name="connsiteY2002" fmla="*/ 4225136 h 6858000"/>
              <a:gd name="connsiteX2003" fmla="*/ 2304827 w 6530564"/>
              <a:gd name="connsiteY2003" fmla="*/ 4232576 h 6858000"/>
              <a:gd name="connsiteX2004" fmla="*/ 2303948 w 6530564"/>
              <a:gd name="connsiteY2004" fmla="*/ 4235857 h 6858000"/>
              <a:gd name="connsiteX2005" fmla="*/ 2306349 w 6530564"/>
              <a:gd name="connsiteY2005" fmla="*/ 4240017 h 6858000"/>
              <a:gd name="connsiteX2006" fmla="*/ 2309629 w 6530564"/>
              <a:gd name="connsiteY2006" fmla="*/ 4240895 h 6858000"/>
              <a:gd name="connsiteX2007" fmla="*/ 2329718 w 6530564"/>
              <a:gd name="connsiteY2007" fmla="*/ 4270889 h 6858000"/>
              <a:gd name="connsiteX2008" fmla="*/ 2332119 w 6530564"/>
              <a:gd name="connsiteY2008" fmla="*/ 4275047 h 6858000"/>
              <a:gd name="connsiteX2009" fmla="*/ 2337802 w 6530564"/>
              <a:gd name="connsiteY2009" fmla="*/ 4280087 h 6858000"/>
              <a:gd name="connsiteX2010" fmla="*/ 2339523 w 6530564"/>
              <a:gd name="connsiteY2010" fmla="*/ 4273662 h 6858000"/>
              <a:gd name="connsiteX2011" fmla="*/ 2344252 w 6530564"/>
              <a:gd name="connsiteY2011" fmla="*/ 4282253 h 6858000"/>
              <a:gd name="connsiteX2012" fmla="*/ 2353292 w 6530564"/>
              <a:gd name="connsiteY2012" fmla="*/ 4287741 h 6858000"/>
              <a:gd name="connsiteX2013" fmla="*/ 2353339 w 6530564"/>
              <a:gd name="connsiteY2013" fmla="*/ 4287828 h 6858000"/>
              <a:gd name="connsiteX2014" fmla="*/ 2356398 w 6530564"/>
              <a:gd name="connsiteY2014" fmla="*/ 4300890 h 6858000"/>
              <a:gd name="connsiteX2015" fmla="*/ 2366853 w 6530564"/>
              <a:gd name="connsiteY2015" fmla="*/ 4315997 h 6858000"/>
              <a:gd name="connsiteX2016" fmla="*/ 2365974 w 6530564"/>
              <a:gd name="connsiteY2016" fmla="*/ 4319277 h 6858000"/>
              <a:gd name="connsiteX2017" fmla="*/ 2369254 w 6530564"/>
              <a:gd name="connsiteY2017" fmla="*/ 4320156 h 6858000"/>
              <a:gd name="connsiteX2018" fmla="*/ 2372534 w 6530564"/>
              <a:gd name="connsiteY2018" fmla="*/ 4321034 h 6858000"/>
              <a:gd name="connsiteX2019" fmla="*/ 2373178 w 6530564"/>
              <a:gd name="connsiteY2019" fmla="*/ 4331754 h 6858000"/>
              <a:gd name="connsiteX2020" fmla="*/ 2370777 w 6530564"/>
              <a:gd name="connsiteY2020" fmla="*/ 4327595 h 6858000"/>
              <a:gd name="connsiteX2021" fmla="*/ 2365094 w 6530564"/>
              <a:gd name="connsiteY2021" fmla="*/ 4322557 h 6858000"/>
              <a:gd name="connsiteX2022" fmla="*/ 2366617 w 6530564"/>
              <a:gd name="connsiteY2022" fmla="*/ 4329996 h 6858000"/>
              <a:gd name="connsiteX2023" fmla="*/ 2365738 w 6530564"/>
              <a:gd name="connsiteY2023" fmla="*/ 4333277 h 6858000"/>
              <a:gd name="connsiteX2024" fmla="*/ 2352853 w 6530564"/>
              <a:gd name="connsiteY2024" fmla="*/ 4315761 h 6858000"/>
              <a:gd name="connsiteX2025" fmla="*/ 2430574 w 6530564"/>
              <a:gd name="connsiteY2025" fmla="*/ 4445576 h 6858000"/>
              <a:gd name="connsiteX2026" fmla="*/ 2441059 w 6530564"/>
              <a:gd name="connsiteY2026" fmla="*/ 4458934 h 6858000"/>
              <a:gd name="connsiteX2027" fmla="*/ 2443460 w 6530564"/>
              <a:gd name="connsiteY2027" fmla="*/ 4463092 h 6858000"/>
              <a:gd name="connsiteX2028" fmla="*/ 2533015 w 6530564"/>
              <a:gd name="connsiteY2028" fmla="*/ 4574984 h 6858000"/>
              <a:gd name="connsiteX2029" fmla="*/ 2537817 w 6530564"/>
              <a:gd name="connsiteY2029" fmla="*/ 4583302 h 6858000"/>
              <a:gd name="connsiteX2030" fmla="*/ 2529736 w 6530564"/>
              <a:gd name="connsiteY2030" fmla="*/ 4574104 h 6858000"/>
              <a:gd name="connsiteX2031" fmla="*/ 2523175 w 6530564"/>
              <a:gd name="connsiteY2031" fmla="*/ 4572347 h 6858000"/>
              <a:gd name="connsiteX2032" fmla="*/ 2511810 w 6530564"/>
              <a:gd name="connsiteY2032" fmla="*/ 4562270 h 6858000"/>
              <a:gd name="connsiteX2033" fmla="*/ 2509409 w 6530564"/>
              <a:gd name="connsiteY2033" fmla="*/ 4558111 h 6858000"/>
              <a:gd name="connsiteX2034" fmla="*/ 2506129 w 6530564"/>
              <a:gd name="connsiteY2034" fmla="*/ 4557232 h 6858000"/>
              <a:gd name="connsiteX2035" fmla="*/ 2480123 w 6530564"/>
              <a:gd name="connsiteY2035" fmla="*/ 4536200 h 6858000"/>
              <a:gd name="connsiteX2036" fmla="*/ 2485806 w 6530564"/>
              <a:gd name="connsiteY2036" fmla="*/ 4541239 h 6858000"/>
              <a:gd name="connsiteX2037" fmla="*/ 2479243 w 6530564"/>
              <a:gd name="connsiteY2037" fmla="*/ 4539480 h 6858000"/>
              <a:gd name="connsiteX2038" fmla="*/ 2480766 w 6530564"/>
              <a:gd name="connsiteY2038" fmla="*/ 4546920 h 6858000"/>
              <a:gd name="connsiteX2039" fmla="*/ 2477486 w 6530564"/>
              <a:gd name="connsiteY2039" fmla="*/ 4546041 h 6858000"/>
              <a:gd name="connsiteX2040" fmla="*/ 2475085 w 6530564"/>
              <a:gd name="connsiteY2040" fmla="*/ 4541882 h 6858000"/>
              <a:gd name="connsiteX2041" fmla="*/ 2471804 w 6530564"/>
              <a:gd name="connsiteY2041" fmla="*/ 4541004 h 6858000"/>
              <a:gd name="connsiteX2042" fmla="*/ 2454760 w 6530564"/>
              <a:gd name="connsiteY2042" fmla="*/ 4525889 h 6858000"/>
              <a:gd name="connsiteX2043" fmla="*/ 2451480 w 6530564"/>
              <a:gd name="connsiteY2043" fmla="*/ 4525010 h 6858000"/>
              <a:gd name="connsiteX2044" fmla="*/ 2453881 w 6530564"/>
              <a:gd name="connsiteY2044" fmla="*/ 4529170 h 6858000"/>
              <a:gd name="connsiteX2045" fmla="*/ 2453001 w 6530564"/>
              <a:gd name="connsiteY2045" fmla="*/ 4532449 h 6858000"/>
              <a:gd name="connsiteX2046" fmla="*/ 2402746 w 6530564"/>
              <a:gd name="connsiteY2046" fmla="*/ 4483825 h 6858000"/>
              <a:gd name="connsiteX2047" fmla="*/ 2356651 w 6530564"/>
              <a:gd name="connsiteY2047" fmla="*/ 4432800 h 6858000"/>
              <a:gd name="connsiteX2048" fmla="*/ 2353370 w 6530564"/>
              <a:gd name="connsiteY2048" fmla="*/ 4431922 h 6858000"/>
              <a:gd name="connsiteX2049" fmla="*/ 2354248 w 6530564"/>
              <a:gd name="connsiteY2049" fmla="*/ 4428641 h 6858000"/>
              <a:gd name="connsiteX2050" fmla="*/ 2350968 w 6530564"/>
              <a:gd name="connsiteY2050" fmla="*/ 4427762 h 6858000"/>
              <a:gd name="connsiteX2051" fmla="*/ 2348567 w 6530564"/>
              <a:gd name="connsiteY2051" fmla="*/ 4423602 h 6858000"/>
              <a:gd name="connsiteX2052" fmla="*/ 2340484 w 6530564"/>
              <a:gd name="connsiteY2052" fmla="*/ 4414406 h 6858000"/>
              <a:gd name="connsiteX2053" fmla="*/ 2333924 w 6530564"/>
              <a:gd name="connsiteY2053" fmla="*/ 4412648 h 6858000"/>
              <a:gd name="connsiteX2054" fmla="*/ 2345288 w 6530564"/>
              <a:gd name="connsiteY2054" fmla="*/ 4422724 h 6858000"/>
              <a:gd name="connsiteX2055" fmla="*/ 2344408 w 6530564"/>
              <a:gd name="connsiteY2055" fmla="*/ 4426004 h 6858000"/>
              <a:gd name="connsiteX2056" fmla="*/ 2341128 w 6530564"/>
              <a:gd name="connsiteY2056" fmla="*/ 4425125 h 6858000"/>
              <a:gd name="connsiteX2057" fmla="*/ 2343530 w 6530564"/>
              <a:gd name="connsiteY2057" fmla="*/ 4429285 h 6858000"/>
              <a:gd name="connsiteX2058" fmla="*/ 2346809 w 6530564"/>
              <a:gd name="connsiteY2058" fmla="*/ 4430163 h 6858000"/>
              <a:gd name="connsiteX2059" fmla="*/ 2349211 w 6530564"/>
              <a:gd name="connsiteY2059" fmla="*/ 4434323 h 6858000"/>
              <a:gd name="connsiteX2060" fmla="*/ 2357293 w 6530564"/>
              <a:gd name="connsiteY2060" fmla="*/ 4443519 h 6858000"/>
              <a:gd name="connsiteX2061" fmla="*/ 2363854 w 6530564"/>
              <a:gd name="connsiteY2061" fmla="*/ 4445278 h 6858000"/>
              <a:gd name="connsiteX2062" fmla="*/ 2362096 w 6530564"/>
              <a:gd name="connsiteY2062" fmla="*/ 4451837 h 6858000"/>
              <a:gd name="connsiteX2063" fmla="*/ 2382421 w 6530564"/>
              <a:gd name="connsiteY2063" fmla="*/ 4467832 h 6858000"/>
              <a:gd name="connsiteX2064" fmla="*/ 2414753 w 6530564"/>
              <a:gd name="connsiteY2064" fmla="*/ 4504621 h 6858000"/>
              <a:gd name="connsiteX2065" fmla="*/ 2415632 w 6530564"/>
              <a:gd name="connsiteY2065" fmla="*/ 4501341 h 6858000"/>
              <a:gd name="connsiteX2066" fmla="*/ 2420434 w 6530564"/>
              <a:gd name="connsiteY2066" fmla="*/ 4509659 h 6858000"/>
              <a:gd name="connsiteX2067" fmla="*/ 2426995 w 6530564"/>
              <a:gd name="connsiteY2067" fmla="*/ 4511417 h 6858000"/>
              <a:gd name="connsiteX2068" fmla="*/ 2426115 w 6530564"/>
              <a:gd name="connsiteY2068" fmla="*/ 4514697 h 6858000"/>
              <a:gd name="connsiteX2069" fmla="*/ 2430919 w 6530564"/>
              <a:gd name="connsiteY2069" fmla="*/ 4523015 h 6858000"/>
              <a:gd name="connsiteX2070" fmla="*/ 2470691 w 6530564"/>
              <a:gd name="connsiteY2070" fmla="*/ 4558283 h 6858000"/>
              <a:gd name="connsiteX2071" fmla="*/ 2472448 w 6530564"/>
              <a:gd name="connsiteY2071" fmla="*/ 4551724 h 6858000"/>
              <a:gd name="connsiteX2072" fmla="*/ 2534066 w 6530564"/>
              <a:gd name="connsiteY2072" fmla="*/ 4610424 h 6858000"/>
              <a:gd name="connsiteX2073" fmla="*/ 2585200 w 6530564"/>
              <a:gd name="connsiteY2073" fmla="*/ 4655767 h 6858000"/>
              <a:gd name="connsiteX2074" fmla="*/ 2584321 w 6530564"/>
              <a:gd name="connsiteY2074" fmla="*/ 4659048 h 6858000"/>
              <a:gd name="connsiteX2075" fmla="*/ 2618411 w 6530564"/>
              <a:gd name="connsiteY2075" fmla="*/ 4689276 h 6858000"/>
              <a:gd name="connsiteX2076" fmla="*/ 2608571 w 6530564"/>
              <a:gd name="connsiteY2076" fmla="*/ 4686639 h 6858000"/>
              <a:gd name="connsiteX2077" fmla="*/ 2622570 w 6530564"/>
              <a:gd name="connsiteY2077" fmla="*/ 4686874 h 6858000"/>
              <a:gd name="connsiteX2078" fmla="*/ 2658183 w 6530564"/>
              <a:gd name="connsiteY2078" fmla="*/ 4724543 h 6858000"/>
              <a:gd name="connsiteX2079" fmla="*/ 2660584 w 6530564"/>
              <a:gd name="connsiteY2079" fmla="*/ 4728703 h 6858000"/>
              <a:gd name="connsiteX2080" fmla="*/ 2663864 w 6530564"/>
              <a:gd name="connsiteY2080" fmla="*/ 4729582 h 6858000"/>
              <a:gd name="connsiteX2081" fmla="*/ 2664742 w 6530564"/>
              <a:gd name="connsiteY2081" fmla="*/ 4726302 h 6858000"/>
              <a:gd name="connsiteX2082" fmla="*/ 2670424 w 6530564"/>
              <a:gd name="connsiteY2082" fmla="*/ 4731340 h 6858000"/>
              <a:gd name="connsiteX2083" fmla="*/ 2667143 w 6530564"/>
              <a:gd name="connsiteY2083" fmla="*/ 4730462 h 6858000"/>
              <a:gd name="connsiteX2084" fmla="*/ 2666265 w 6530564"/>
              <a:gd name="connsiteY2084" fmla="*/ 4733741 h 6858000"/>
              <a:gd name="connsiteX2085" fmla="*/ 2672825 w 6530564"/>
              <a:gd name="connsiteY2085" fmla="*/ 4735499 h 6858000"/>
              <a:gd name="connsiteX2086" fmla="*/ 2675227 w 6530564"/>
              <a:gd name="connsiteY2086" fmla="*/ 4739658 h 6858000"/>
              <a:gd name="connsiteX2087" fmla="*/ 2685067 w 6530564"/>
              <a:gd name="connsiteY2087" fmla="*/ 4742295 h 6858000"/>
              <a:gd name="connsiteX2088" fmla="*/ 2690749 w 6530564"/>
              <a:gd name="connsiteY2088" fmla="*/ 4747334 h 6858000"/>
              <a:gd name="connsiteX2089" fmla="*/ 2688348 w 6530564"/>
              <a:gd name="connsiteY2089" fmla="*/ 4743174 h 6858000"/>
              <a:gd name="connsiteX2090" fmla="*/ 2685948 w 6530564"/>
              <a:gd name="connsiteY2090" fmla="*/ 4739014 h 6858000"/>
              <a:gd name="connsiteX2091" fmla="*/ 2692507 w 6530564"/>
              <a:gd name="connsiteY2091" fmla="*/ 4740773 h 6858000"/>
              <a:gd name="connsiteX2092" fmla="*/ 2709552 w 6530564"/>
              <a:gd name="connsiteY2092" fmla="*/ 4755887 h 6858000"/>
              <a:gd name="connsiteX2093" fmla="*/ 2741239 w 6530564"/>
              <a:gd name="connsiteY2093" fmla="*/ 4781956 h 6858000"/>
              <a:gd name="connsiteX2094" fmla="*/ 2743642 w 6530564"/>
              <a:gd name="connsiteY2094" fmla="*/ 4786115 h 6858000"/>
              <a:gd name="connsiteX2095" fmla="*/ 2746921 w 6530564"/>
              <a:gd name="connsiteY2095" fmla="*/ 4786995 h 6858000"/>
              <a:gd name="connsiteX2096" fmla="*/ 2761565 w 6530564"/>
              <a:gd name="connsiteY2096" fmla="*/ 4797950 h 6858000"/>
              <a:gd name="connsiteX2097" fmla="*/ 2773807 w 6530564"/>
              <a:gd name="connsiteY2097" fmla="*/ 4804745 h 6858000"/>
              <a:gd name="connsiteX2098" fmla="*/ 2793253 w 6530564"/>
              <a:gd name="connsiteY2098" fmla="*/ 4824020 h 6858000"/>
              <a:gd name="connsiteX2099" fmla="*/ 2792374 w 6530564"/>
              <a:gd name="connsiteY2099" fmla="*/ 4827301 h 6858000"/>
              <a:gd name="connsiteX2100" fmla="*/ 2798935 w 6530564"/>
              <a:gd name="connsiteY2100" fmla="*/ 4829058 h 6858000"/>
              <a:gd name="connsiteX2101" fmla="*/ 2802215 w 6530564"/>
              <a:gd name="connsiteY2101" fmla="*/ 4829937 h 6858000"/>
              <a:gd name="connsiteX2102" fmla="*/ 2799813 w 6530564"/>
              <a:gd name="connsiteY2102" fmla="*/ 4825779 h 6858000"/>
              <a:gd name="connsiteX2103" fmla="*/ 2820139 w 6530564"/>
              <a:gd name="connsiteY2103" fmla="*/ 4841771 h 6858000"/>
              <a:gd name="connsiteX2104" fmla="*/ 2822540 w 6530564"/>
              <a:gd name="connsiteY2104" fmla="*/ 4845931 h 6858000"/>
              <a:gd name="connsiteX2105" fmla="*/ 2825821 w 6530564"/>
              <a:gd name="connsiteY2105" fmla="*/ 4846810 h 6858000"/>
              <a:gd name="connsiteX2106" fmla="*/ 2847025 w 6530564"/>
              <a:gd name="connsiteY2106" fmla="*/ 4859523 h 6858000"/>
              <a:gd name="connsiteX2107" fmla="*/ 2843744 w 6530564"/>
              <a:gd name="connsiteY2107" fmla="*/ 4858645 h 6858000"/>
              <a:gd name="connsiteX2108" fmla="*/ 2833903 w 6530564"/>
              <a:gd name="connsiteY2108" fmla="*/ 4856008 h 6858000"/>
              <a:gd name="connsiteX2109" fmla="*/ 2839585 w 6530564"/>
              <a:gd name="connsiteY2109" fmla="*/ 4861046 h 6858000"/>
              <a:gd name="connsiteX2110" fmla="*/ 2841985 w 6530564"/>
              <a:gd name="connsiteY2110" fmla="*/ 4865204 h 6858000"/>
              <a:gd name="connsiteX2111" fmla="*/ 2829743 w 6530564"/>
              <a:gd name="connsiteY2111" fmla="*/ 4858407 h 6858000"/>
              <a:gd name="connsiteX2112" fmla="*/ 2824705 w 6530564"/>
              <a:gd name="connsiteY2112" fmla="*/ 4864090 h 6858000"/>
              <a:gd name="connsiteX2113" fmla="*/ 2845031 w 6530564"/>
              <a:gd name="connsiteY2113" fmla="*/ 4880083 h 6858000"/>
              <a:gd name="connsiteX2114" fmla="*/ 2847433 w 6530564"/>
              <a:gd name="connsiteY2114" fmla="*/ 4884243 h 6858000"/>
              <a:gd name="connsiteX2115" fmla="*/ 2850711 w 6530564"/>
              <a:gd name="connsiteY2115" fmla="*/ 4885122 h 6858000"/>
              <a:gd name="connsiteX2116" fmla="*/ 2853993 w 6530564"/>
              <a:gd name="connsiteY2116" fmla="*/ 4886000 h 6858000"/>
              <a:gd name="connsiteX2117" fmla="*/ 2851592 w 6530564"/>
              <a:gd name="connsiteY2117" fmla="*/ 4881842 h 6858000"/>
              <a:gd name="connsiteX2118" fmla="*/ 2861432 w 6530564"/>
              <a:gd name="connsiteY2118" fmla="*/ 4884479 h 6858000"/>
              <a:gd name="connsiteX2119" fmla="*/ 2865592 w 6530564"/>
              <a:gd name="connsiteY2119" fmla="*/ 4882076 h 6858000"/>
              <a:gd name="connsiteX2120" fmla="*/ 2850949 w 6530564"/>
              <a:gd name="connsiteY2120" fmla="*/ 4871121 h 6858000"/>
              <a:gd name="connsiteX2121" fmla="*/ 2854228 w 6530564"/>
              <a:gd name="connsiteY2121" fmla="*/ 4872001 h 6858000"/>
              <a:gd name="connsiteX2122" fmla="*/ 2861667 w 6530564"/>
              <a:gd name="connsiteY2122" fmla="*/ 4870478 h 6858000"/>
              <a:gd name="connsiteX2123" fmla="*/ 2856769 w 6530564"/>
              <a:gd name="connsiteY2123" fmla="*/ 4866135 h 6858000"/>
              <a:gd name="connsiteX2124" fmla="*/ 2862737 w 6530564"/>
              <a:gd name="connsiteY2124" fmla="*/ 4868128 h 6858000"/>
              <a:gd name="connsiteX2125" fmla="*/ 2877189 w 6530564"/>
              <a:gd name="connsiteY2125" fmla="*/ 4878154 h 6858000"/>
              <a:gd name="connsiteX2126" fmla="*/ 2889669 w 6530564"/>
              <a:gd name="connsiteY2126" fmla="*/ 4870949 h 6858000"/>
              <a:gd name="connsiteX2127" fmla="*/ 2885509 w 6530564"/>
              <a:gd name="connsiteY2127" fmla="*/ 4873350 h 6858000"/>
              <a:gd name="connsiteX2128" fmla="*/ 2884630 w 6530564"/>
              <a:gd name="connsiteY2128" fmla="*/ 4876631 h 6858000"/>
              <a:gd name="connsiteX2129" fmla="*/ 2883750 w 6530564"/>
              <a:gd name="connsiteY2129" fmla="*/ 4879911 h 6858000"/>
              <a:gd name="connsiteX2130" fmla="*/ 2890311 w 6530564"/>
              <a:gd name="connsiteY2130" fmla="*/ 4881670 h 6858000"/>
              <a:gd name="connsiteX2131" fmla="*/ 2893590 w 6530564"/>
              <a:gd name="connsiteY2131" fmla="*/ 4882548 h 6858000"/>
              <a:gd name="connsiteX2132" fmla="*/ 2898394 w 6530564"/>
              <a:gd name="connsiteY2132" fmla="*/ 4890866 h 6858000"/>
              <a:gd name="connsiteX2133" fmla="*/ 2891834 w 6530564"/>
              <a:gd name="connsiteY2133" fmla="*/ 4889109 h 6858000"/>
              <a:gd name="connsiteX2134" fmla="*/ 2890953 w 6530564"/>
              <a:gd name="connsiteY2134" fmla="*/ 4892389 h 6858000"/>
              <a:gd name="connsiteX2135" fmla="*/ 2896636 w 6530564"/>
              <a:gd name="connsiteY2135" fmla="*/ 4897427 h 6858000"/>
              <a:gd name="connsiteX2136" fmla="*/ 2903197 w 6530564"/>
              <a:gd name="connsiteY2136" fmla="*/ 4899185 h 6858000"/>
              <a:gd name="connsiteX2137" fmla="*/ 2911514 w 6530564"/>
              <a:gd name="connsiteY2137" fmla="*/ 4894383 h 6858000"/>
              <a:gd name="connsiteX2138" fmla="*/ 2915674 w 6530564"/>
              <a:gd name="connsiteY2138" fmla="*/ 4891980 h 6858000"/>
              <a:gd name="connsiteX2139" fmla="*/ 2913273 w 6530564"/>
              <a:gd name="connsiteY2139" fmla="*/ 4887822 h 6858000"/>
              <a:gd name="connsiteX2140" fmla="*/ 2928796 w 6530564"/>
              <a:gd name="connsiteY2140" fmla="*/ 4895497 h 6858000"/>
              <a:gd name="connsiteX2141" fmla="*/ 2918954 w 6530564"/>
              <a:gd name="connsiteY2141" fmla="*/ 4892860 h 6858000"/>
              <a:gd name="connsiteX2142" fmla="*/ 2930317 w 6530564"/>
              <a:gd name="connsiteY2142" fmla="*/ 4902935 h 6858000"/>
              <a:gd name="connsiteX2143" fmla="*/ 2929439 w 6530564"/>
              <a:gd name="connsiteY2143" fmla="*/ 4906217 h 6858000"/>
              <a:gd name="connsiteX2144" fmla="*/ 2932718 w 6530564"/>
              <a:gd name="connsiteY2144" fmla="*/ 4907095 h 6858000"/>
              <a:gd name="connsiteX2145" fmla="*/ 2935999 w 6530564"/>
              <a:gd name="connsiteY2145" fmla="*/ 4907975 h 6858000"/>
              <a:gd name="connsiteX2146" fmla="*/ 2936878 w 6530564"/>
              <a:gd name="connsiteY2146" fmla="*/ 4904694 h 6858000"/>
              <a:gd name="connsiteX2147" fmla="*/ 2941680 w 6530564"/>
              <a:gd name="connsiteY2147" fmla="*/ 4913011 h 6858000"/>
              <a:gd name="connsiteX2148" fmla="*/ 2961363 w 6530564"/>
              <a:gd name="connsiteY2148" fmla="*/ 4918285 h 6858000"/>
              <a:gd name="connsiteX2149" fmla="*/ 2954802 w 6530564"/>
              <a:gd name="connsiteY2149" fmla="*/ 4916527 h 6858000"/>
              <a:gd name="connsiteX2150" fmla="*/ 2972726 w 6530564"/>
              <a:gd name="connsiteY2150" fmla="*/ 4928362 h 6858000"/>
              <a:gd name="connsiteX2151" fmla="*/ 2968566 w 6530564"/>
              <a:gd name="connsiteY2151" fmla="*/ 4930764 h 6858000"/>
              <a:gd name="connsiteX2152" fmla="*/ 2971848 w 6530564"/>
              <a:gd name="connsiteY2152" fmla="*/ 4931642 h 6858000"/>
              <a:gd name="connsiteX2153" fmla="*/ 2970967 w 6530564"/>
              <a:gd name="connsiteY2153" fmla="*/ 4934923 h 6858000"/>
              <a:gd name="connsiteX2154" fmla="*/ 2966810 w 6530564"/>
              <a:gd name="connsiteY2154" fmla="*/ 4937324 h 6858000"/>
              <a:gd name="connsiteX2155" fmla="*/ 2939043 w 6530564"/>
              <a:gd name="connsiteY2155" fmla="*/ 4922854 h 6858000"/>
              <a:gd name="connsiteX2156" fmla="*/ 2939923 w 6530564"/>
              <a:gd name="connsiteY2156" fmla="*/ 4919573 h 6858000"/>
              <a:gd name="connsiteX2157" fmla="*/ 2927680 w 6530564"/>
              <a:gd name="connsiteY2157" fmla="*/ 4912777 h 6858000"/>
              <a:gd name="connsiteX2158" fmla="*/ 2935764 w 6530564"/>
              <a:gd name="connsiteY2158" fmla="*/ 4921974 h 6858000"/>
              <a:gd name="connsiteX2159" fmla="*/ 2920241 w 6530564"/>
              <a:gd name="connsiteY2159" fmla="*/ 4914300 h 6858000"/>
              <a:gd name="connsiteX2160" fmla="*/ 2917839 w 6530564"/>
              <a:gd name="connsiteY2160" fmla="*/ 4910140 h 6858000"/>
              <a:gd name="connsiteX2161" fmla="*/ 2914560 w 6530564"/>
              <a:gd name="connsiteY2161" fmla="*/ 4909260 h 6858000"/>
              <a:gd name="connsiteX2162" fmla="*/ 2910401 w 6530564"/>
              <a:gd name="connsiteY2162" fmla="*/ 4911663 h 6858000"/>
              <a:gd name="connsiteX2163" fmla="*/ 2912801 w 6530564"/>
              <a:gd name="connsiteY2163" fmla="*/ 4915821 h 6858000"/>
              <a:gd name="connsiteX2164" fmla="*/ 2918484 w 6530564"/>
              <a:gd name="connsiteY2164" fmla="*/ 4920859 h 6858000"/>
              <a:gd name="connsiteX2165" fmla="*/ 2921765 w 6530564"/>
              <a:gd name="connsiteY2165" fmla="*/ 4921739 h 6858000"/>
              <a:gd name="connsiteX2166" fmla="*/ 2922643 w 6530564"/>
              <a:gd name="connsiteY2166" fmla="*/ 4918458 h 6858000"/>
              <a:gd name="connsiteX2167" fmla="*/ 2965929 w 6530564"/>
              <a:gd name="connsiteY2167" fmla="*/ 4940604 h 6858000"/>
              <a:gd name="connsiteX2168" fmla="*/ 2968331 w 6530564"/>
              <a:gd name="connsiteY2168" fmla="*/ 4944764 h 6858000"/>
              <a:gd name="connsiteX2169" fmla="*/ 2971612 w 6530564"/>
              <a:gd name="connsiteY2169" fmla="*/ 4945642 h 6858000"/>
              <a:gd name="connsiteX2170" fmla="*/ 2974892 w 6530564"/>
              <a:gd name="connsiteY2170" fmla="*/ 4946522 h 6858000"/>
              <a:gd name="connsiteX2171" fmla="*/ 2992815 w 6530564"/>
              <a:gd name="connsiteY2171" fmla="*/ 4958356 h 6858000"/>
              <a:gd name="connsiteX2172" fmla="*/ 2993695 w 6530564"/>
              <a:gd name="connsiteY2172" fmla="*/ 4955076 h 6858000"/>
              <a:gd name="connsiteX2173" fmla="*/ 2996095 w 6530564"/>
              <a:gd name="connsiteY2173" fmla="*/ 4959234 h 6858000"/>
              <a:gd name="connsiteX2174" fmla="*/ 3001778 w 6530564"/>
              <a:gd name="connsiteY2174" fmla="*/ 4964274 h 6858000"/>
              <a:gd name="connsiteX2175" fmla="*/ 3005937 w 6530564"/>
              <a:gd name="connsiteY2175" fmla="*/ 4961873 h 6858000"/>
              <a:gd name="connsiteX2176" fmla="*/ 3075465 w 6530564"/>
              <a:gd name="connsiteY2176" fmla="*/ 4991048 h 6858000"/>
              <a:gd name="connsiteX2177" fmla="*/ 3081147 w 6530564"/>
              <a:gd name="connsiteY2177" fmla="*/ 4996088 h 6858000"/>
              <a:gd name="connsiteX2178" fmla="*/ 3084428 w 6530564"/>
              <a:gd name="connsiteY2178" fmla="*/ 4996967 h 6858000"/>
              <a:gd name="connsiteX2179" fmla="*/ 3085306 w 6530564"/>
              <a:gd name="connsiteY2179" fmla="*/ 4993685 h 6858000"/>
              <a:gd name="connsiteX2180" fmla="*/ 3103230 w 6530564"/>
              <a:gd name="connsiteY2180" fmla="*/ 5005520 h 6858000"/>
              <a:gd name="connsiteX2181" fmla="*/ 3106511 w 6530564"/>
              <a:gd name="connsiteY2181" fmla="*/ 5006399 h 6858000"/>
              <a:gd name="connsiteX2182" fmla="*/ 3113070 w 6530564"/>
              <a:gd name="connsiteY2182" fmla="*/ 5008157 h 6858000"/>
              <a:gd name="connsiteX2183" fmla="*/ 3116351 w 6530564"/>
              <a:gd name="connsiteY2183" fmla="*/ 5009036 h 6858000"/>
              <a:gd name="connsiteX2184" fmla="*/ 3118751 w 6530564"/>
              <a:gd name="connsiteY2184" fmla="*/ 5013195 h 6858000"/>
              <a:gd name="connsiteX2185" fmla="*/ 3122032 w 6530564"/>
              <a:gd name="connsiteY2185" fmla="*/ 5014073 h 6858000"/>
              <a:gd name="connsiteX2186" fmla="*/ 3141713 w 6530564"/>
              <a:gd name="connsiteY2186" fmla="*/ 5019348 h 6858000"/>
              <a:gd name="connsiteX2187" fmla="*/ 3144995 w 6530564"/>
              <a:gd name="connsiteY2187" fmla="*/ 5020227 h 6858000"/>
              <a:gd name="connsiteX2188" fmla="*/ 3151555 w 6530564"/>
              <a:gd name="connsiteY2188" fmla="*/ 5021985 h 6858000"/>
              <a:gd name="connsiteX2189" fmla="*/ 3154835 w 6530564"/>
              <a:gd name="connsiteY2189" fmla="*/ 5022864 h 6858000"/>
              <a:gd name="connsiteX2190" fmla="*/ 3177797 w 6530564"/>
              <a:gd name="connsiteY2190" fmla="*/ 5029016 h 6858000"/>
              <a:gd name="connsiteX2191" fmla="*/ 3189161 w 6530564"/>
              <a:gd name="connsiteY2191" fmla="*/ 5039093 h 6858000"/>
              <a:gd name="connsiteX2192" fmla="*/ 3191561 w 6530564"/>
              <a:gd name="connsiteY2192" fmla="*/ 5043251 h 6858000"/>
              <a:gd name="connsiteX2193" fmla="*/ 3194841 w 6530564"/>
              <a:gd name="connsiteY2193" fmla="*/ 5044131 h 6858000"/>
              <a:gd name="connsiteX2194" fmla="*/ 3195720 w 6530564"/>
              <a:gd name="connsiteY2194" fmla="*/ 5040850 h 6858000"/>
              <a:gd name="connsiteX2195" fmla="*/ 3192440 w 6530564"/>
              <a:gd name="connsiteY2195" fmla="*/ 5039972 h 6858000"/>
              <a:gd name="connsiteX2196" fmla="*/ 3206440 w 6530564"/>
              <a:gd name="connsiteY2196" fmla="*/ 5040207 h 6858000"/>
              <a:gd name="connsiteX2197" fmla="*/ 3204682 w 6530564"/>
              <a:gd name="connsiteY2197" fmla="*/ 5046768 h 6858000"/>
              <a:gd name="connsiteX2198" fmla="*/ 3200777 w 6530564"/>
              <a:gd name="connsiteY2198" fmla="*/ 5049024 h 6858000"/>
              <a:gd name="connsiteX2199" fmla="*/ 3182802 w 6530564"/>
              <a:gd name="connsiteY2199" fmla="*/ 5042937 h 6858000"/>
              <a:gd name="connsiteX2200" fmla="*/ 3134918 w 6530564"/>
              <a:gd name="connsiteY2200" fmla="*/ 5031590 h 6858000"/>
              <a:gd name="connsiteX2201" fmla="*/ 3132517 w 6530564"/>
              <a:gd name="connsiteY2201" fmla="*/ 5027430 h 6858000"/>
              <a:gd name="connsiteX2202" fmla="*/ 3129237 w 6530564"/>
              <a:gd name="connsiteY2202" fmla="*/ 5026552 h 6858000"/>
              <a:gd name="connsiteX2203" fmla="*/ 3111956 w 6530564"/>
              <a:gd name="connsiteY2203" fmla="*/ 5025438 h 6858000"/>
              <a:gd name="connsiteX2204" fmla="*/ 3125078 w 6530564"/>
              <a:gd name="connsiteY2204" fmla="*/ 5028953 h 6858000"/>
              <a:gd name="connsiteX2205" fmla="*/ 3120918 w 6530564"/>
              <a:gd name="connsiteY2205" fmla="*/ 5031354 h 6858000"/>
              <a:gd name="connsiteX2206" fmla="*/ 3124199 w 6530564"/>
              <a:gd name="connsiteY2206" fmla="*/ 5032234 h 6858000"/>
              <a:gd name="connsiteX2207" fmla="*/ 3127479 w 6530564"/>
              <a:gd name="connsiteY2207" fmla="*/ 5033113 h 6858000"/>
              <a:gd name="connsiteX2208" fmla="*/ 3130758 w 6530564"/>
              <a:gd name="connsiteY2208" fmla="*/ 5033991 h 6858000"/>
              <a:gd name="connsiteX2209" fmla="*/ 3159167 w 6530564"/>
              <a:gd name="connsiteY2209" fmla="*/ 5059182 h 6858000"/>
              <a:gd name="connsiteX2210" fmla="*/ 3223421 w 6530564"/>
              <a:gd name="connsiteY2210" fmla="*/ 5108042 h 6858000"/>
              <a:gd name="connsiteX2211" fmla="*/ 3225824 w 6530564"/>
              <a:gd name="connsiteY2211" fmla="*/ 5112200 h 6858000"/>
              <a:gd name="connsiteX2212" fmla="*/ 3228223 w 6530564"/>
              <a:gd name="connsiteY2212" fmla="*/ 5116360 h 6858000"/>
              <a:gd name="connsiteX2213" fmla="*/ 3224065 w 6530564"/>
              <a:gd name="connsiteY2213" fmla="*/ 5118761 h 6858000"/>
              <a:gd name="connsiteX2214" fmla="*/ 3233907 w 6530564"/>
              <a:gd name="connsiteY2214" fmla="*/ 5121398 h 6858000"/>
              <a:gd name="connsiteX2215" fmla="*/ 3292714 w 6530564"/>
              <a:gd name="connsiteY2215" fmla="*/ 5151219 h 6858000"/>
              <a:gd name="connsiteX2216" fmla="*/ 3285275 w 6530564"/>
              <a:gd name="connsiteY2216" fmla="*/ 5152742 h 6858000"/>
              <a:gd name="connsiteX2217" fmla="*/ 3319365 w 6530564"/>
              <a:gd name="connsiteY2217" fmla="*/ 5182971 h 6858000"/>
              <a:gd name="connsiteX2218" fmla="*/ 3312805 w 6530564"/>
              <a:gd name="connsiteY2218" fmla="*/ 5181213 h 6858000"/>
              <a:gd name="connsiteX2219" fmla="*/ 3309524 w 6530564"/>
              <a:gd name="connsiteY2219" fmla="*/ 5180334 h 6858000"/>
              <a:gd name="connsiteX2220" fmla="*/ 3311927 w 6530564"/>
              <a:gd name="connsiteY2220" fmla="*/ 5184492 h 6858000"/>
              <a:gd name="connsiteX2221" fmla="*/ 3318486 w 6530564"/>
              <a:gd name="connsiteY2221" fmla="*/ 5186251 h 6858000"/>
              <a:gd name="connsiteX2222" fmla="*/ 3266002 w 6530564"/>
              <a:gd name="connsiteY2222" fmla="*/ 5172187 h 6858000"/>
              <a:gd name="connsiteX2223" fmla="*/ 3342499 w 6530564"/>
              <a:gd name="connsiteY2223" fmla="*/ 5227844 h 6858000"/>
              <a:gd name="connsiteX2224" fmla="*/ 3348824 w 6530564"/>
              <a:gd name="connsiteY2224" fmla="*/ 5243600 h 6858000"/>
              <a:gd name="connsiteX2225" fmla="*/ 3338105 w 6530564"/>
              <a:gd name="connsiteY2225" fmla="*/ 5244245 h 6858000"/>
              <a:gd name="connsiteX2226" fmla="*/ 3260257 w 6530564"/>
              <a:gd name="connsiteY2226" fmla="*/ 5219869 h 6858000"/>
              <a:gd name="connsiteX2227" fmla="*/ 3243621 w 6530564"/>
              <a:gd name="connsiteY2227" fmla="*/ 5229475 h 6858000"/>
              <a:gd name="connsiteX2228" fmla="*/ 3201857 w 6530564"/>
              <a:gd name="connsiteY2228" fmla="*/ 5214769 h 6858000"/>
              <a:gd name="connsiteX2229" fmla="*/ 3219780 w 6530564"/>
              <a:gd name="connsiteY2229" fmla="*/ 5226604 h 6858000"/>
              <a:gd name="connsiteX2230" fmla="*/ 3193538 w 6530564"/>
              <a:gd name="connsiteY2230" fmla="*/ 5219573 h 6858000"/>
              <a:gd name="connsiteX2231" fmla="*/ 3204023 w 6530564"/>
              <a:gd name="connsiteY2231" fmla="*/ 5232929 h 6858000"/>
              <a:gd name="connsiteX2232" fmla="*/ 3042882 w 6530564"/>
              <a:gd name="connsiteY2232" fmla="*/ 5165139 h 6858000"/>
              <a:gd name="connsiteX2233" fmla="*/ 3027359 w 6530564"/>
              <a:gd name="connsiteY2233" fmla="*/ 5157464 h 6858000"/>
              <a:gd name="connsiteX2234" fmla="*/ 1894782 w 6530564"/>
              <a:gd name="connsiteY2234" fmla="*/ 3584788 h 6858000"/>
              <a:gd name="connsiteX2235" fmla="*/ 1895662 w 6530564"/>
              <a:gd name="connsiteY2235" fmla="*/ 3581506 h 6858000"/>
              <a:gd name="connsiteX2236" fmla="*/ 1896540 w 6530564"/>
              <a:gd name="connsiteY2236" fmla="*/ 3578226 h 6858000"/>
              <a:gd name="connsiteX2237" fmla="*/ 1900698 w 6530564"/>
              <a:gd name="connsiteY2237" fmla="*/ 3575825 h 6858000"/>
              <a:gd name="connsiteX2238" fmla="*/ 1902221 w 6530564"/>
              <a:gd name="connsiteY2238" fmla="*/ 3583265 h 6858000"/>
              <a:gd name="connsiteX2239" fmla="*/ 1908782 w 6530564"/>
              <a:gd name="connsiteY2239" fmla="*/ 3585022 h 6858000"/>
              <a:gd name="connsiteX2240" fmla="*/ 1907259 w 6530564"/>
              <a:gd name="connsiteY2240" fmla="*/ 3577584 h 6858000"/>
              <a:gd name="connsiteX2241" fmla="*/ 1904858 w 6530564"/>
              <a:gd name="connsiteY2241" fmla="*/ 3573425 h 6858000"/>
              <a:gd name="connsiteX2242" fmla="*/ 1905737 w 6530564"/>
              <a:gd name="connsiteY2242" fmla="*/ 3570143 h 6858000"/>
              <a:gd name="connsiteX2243" fmla="*/ 1911655 w 6530564"/>
              <a:gd name="connsiteY2243" fmla="*/ 3561181 h 6858000"/>
              <a:gd name="connsiteX2244" fmla="*/ 1902693 w 6530564"/>
              <a:gd name="connsiteY2244" fmla="*/ 3555264 h 6858000"/>
              <a:gd name="connsiteX2245" fmla="*/ 1904214 w 6530564"/>
              <a:gd name="connsiteY2245" fmla="*/ 3562704 h 6858000"/>
              <a:gd name="connsiteX2246" fmla="*/ 1898533 w 6530564"/>
              <a:gd name="connsiteY2246" fmla="*/ 3557666 h 6858000"/>
              <a:gd name="connsiteX2247" fmla="*/ 1899176 w 6530564"/>
              <a:gd name="connsiteY2247" fmla="*/ 3568386 h 6858000"/>
              <a:gd name="connsiteX2248" fmla="*/ 1901577 w 6530564"/>
              <a:gd name="connsiteY2248" fmla="*/ 3572544 h 6858000"/>
              <a:gd name="connsiteX2249" fmla="*/ 1895896 w 6530564"/>
              <a:gd name="connsiteY2249" fmla="*/ 3567506 h 6858000"/>
              <a:gd name="connsiteX2250" fmla="*/ 1896775 w 6530564"/>
              <a:gd name="connsiteY2250" fmla="*/ 3564227 h 6858000"/>
              <a:gd name="connsiteX2251" fmla="*/ 1894373 w 6530564"/>
              <a:gd name="connsiteY2251" fmla="*/ 3560067 h 6858000"/>
              <a:gd name="connsiteX2252" fmla="*/ 1891094 w 6530564"/>
              <a:gd name="connsiteY2252" fmla="*/ 3559188 h 6858000"/>
              <a:gd name="connsiteX2253" fmla="*/ 1879920 w 6530564"/>
              <a:gd name="connsiteY2253" fmla="*/ 3390951 h 6858000"/>
              <a:gd name="connsiteX2254" fmla="*/ 1885837 w 6530564"/>
              <a:gd name="connsiteY2254" fmla="*/ 3381989 h 6858000"/>
              <a:gd name="connsiteX2255" fmla="*/ 1882557 w 6530564"/>
              <a:gd name="connsiteY2255" fmla="*/ 3381111 h 6858000"/>
              <a:gd name="connsiteX2256" fmla="*/ 1949501 w 6530564"/>
              <a:gd name="connsiteY2256" fmla="*/ 2829488 h 6858000"/>
              <a:gd name="connsiteX2257" fmla="*/ 2643562 w 6530564"/>
              <a:gd name="connsiteY2257" fmla="*/ 1774383 h 6858000"/>
              <a:gd name="connsiteX2258" fmla="*/ 2640925 w 6530564"/>
              <a:gd name="connsiteY2258" fmla="*/ 1784224 h 6858000"/>
              <a:gd name="connsiteX2259" fmla="*/ 2686913 w 6530564"/>
              <a:gd name="connsiteY2259" fmla="*/ 1743809 h 6858000"/>
              <a:gd name="connsiteX2260" fmla="*/ 2683632 w 6530564"/>
              <a:gd name="connsiteY2260" fmla="*/ 1742931 h 6858000"/>
              <a:gd name="connsiteX2261" fmla="*/ 2744497 w 6530564"/>
              <a:gd name="connsiteY2261" fmla="*/ 1699471 h 6858000"/>
              <a:gd name="connsiteX2262" fmla="*/ 2782809 w 6530564"/>
              <a:gd name="connsiteY2262" fmla="*/ 1674577 h 6858000"/>
              <a:gd name="connsiteX2263" fmla="*/ 2786969 w 6530564"/>
              <a:gd name="connsiteY2263" fmla="*/ 1672176 h 6858000"/>
              <a:gd name="connsiteX2264" fmla="*/ 2787847 w 6530564"/>
              <a:gd name="connsiteY2264" fmla="*/ 1668896 h 6858000"/>
              <a:gd name="connsiteX2265" fmla="*/ 2795287 w 6530564"/>
              <a:gd name="connsiteY2265" fmla="*/ 1667374 h 6858000"/>
              <a:gd name="connsiteX2266" fmla="*/ 2812803 w 6530564"/>
              <a:gd name="connsiteY2266" fmla="*/ 1654488 h 6858000"/>
              <a:gd name="connsiteX2267" fmla="*/ 2867751 w 6530564"/>
              <a:gd name="connsiteY2267" fmla="*/ 1619990 h 6858000"/>
              <a:gd name="connsiteX2268" fmla="*/ 2892707 w 6530564"/>
              <a:gd name="connsiteY2268" fmla="*/ 1605583 h 6858000"/>
              <a:gd name="connsiteX2269" fmla="*/ 2945898 w 6530564"/>
              <a:gd name="connsiteY2269" fmla="*/ 1577646 h 6858000"/>
              <a:gd name="connsiteX2270" fmla="*/ 2945019 w 6530564"/>
              <a:gd name="connsiteY2270" fmla="*/ 1580925 h 6858000"/>
              <a:gd name="connsiteX2271" fmla="*/ 2954215 w 6530564"/>
              <a:gd name="connsiteY2271" fmla="*/ 1572842 h 6858000"/>
              <a:gd name="connsiteX2272" fmla="*/ 3187642 w 6530564"/>
              <a:gd name="connsiteY2272" fmla="*/ 1469266 h 6858000"/>
              <a:gd name="connsiteX2273" fmla="*/ 3206518 w 6530564"/>
              <a:gd name="connsiteY2273" fmla="*/ 1462968 h 6858000"/>
              <a:gd name="connsiteX2274" fmla="*/ 3279061 w 6530564"/>
              <a:gd name="connsiteY2274" fmla="*/ 1433119 h 6858000"/>
              <a:gd name="connsiteX2275" fmla="*/ 3268731 w 6530564"/>
              <a:gd name="connsiteY2275" fmla="*/ 1435621 h 6858000"/>
              <a:gd name="connsiteX2276" fmla="*/ 3291288 w 6530564"/>
              <a:gd name="connsiteY2276" fmla="*/ 1428088 h 6858000"/>
              <a:gd name="connsiteX2277" fmla="*/ 3299007 w 6530564"/>
              <a:gd name="connsiteY2277" fmla="*/ 1424913 h 6858000"/>
              <a:gd name="connsiteX2278" fmla="*/ 2502762 w 6530564"/>
              <a:gd name="connsiteY2278" fmla="*/ 1367737 h 6858000"/>
              <a:gd name="connsiteX2279" fmla="*/ 2499088 w 6530564"/>
              <a:gd name="connsiteY2279" fmla="*/ 1373406 h 6858000"/>
              <a:gd name="connsiteX2280" fmla="*/ 2508432 w 6530564"/>
              <a:gd name="connsiteY2280" fmla="*/ 1371410 h 6858000"/>
              <a:gd name="connsiteX2281" fmla="*/ 2472589 w 6530564"/>
              <a:gd name="connsiteY2281" fmla="*/ 1406541 h 6858000"/>
              <a:gd name="connsiteX2282" fmla="*/ 2428360 w 6530564"/>
              <a:gd name="connsiteY2282" fmla="*/ 1430993 h 6858000"/>
              <a:gd name="connsiteX2283" fmla="*/ 2427665 w 6530564"/>
              <a:gd name="connsiteY2283" fmla="*/ 1427740 h 6858000"/>
              <a:gd name="connsiteX2284" fmla="*/ 2423991 w 6530564"/>
              <a:gd name="connsiteY2284" fmla="*/ 1433409 h 6858000"/>
              <a:gd name="connsiteX2285" fmla="*/ 2406305 w 6530564"/>
              <a:gd name="connsiteY2285" fmla="*/ 1442071 h 6858000"/>
              <a:gd name="connsiteX2286" fmla="*/ 2401635 w 6530564"/>
              <a:gd name="connsiteY2286" fmla="*/ 1443068 h 6858000"/>
              <a:gd name="connsiteX2287" fmla="*/ 2402632 w 6530564"/>
              <a:gd name="connsiteY2287" fmla="*/ 1447739 h 6858000"/>
              <a:gd name="connsiteX2288" fmla="*/ 2397962 w 6530564"/>
              <a:gd name="connsiteY2288" fmla="*/ 1448738 h 6858000"/>
              <a:gd name="connsiteX2289" fmla="*/ 2368524 w 6530564"/>
              <a:gd name="connsiteY2289" fmla="*/ 1462091 h 6858000"/>
              <a:gd name="connsiteX2290" fmla="*/ 2436136 w 6530564"/>
              <a:gd name="connsiteY2290" fmla="*/ 1405006 h 6858000"/>
              <a:gd name="connsiteX2291" fmla="*/ 2447028 w 6530564"/>
              <a:gd name="connsiteY2291" fmla="*/ 1404065 h 6858000"/>
              <a:gd name="connsiteX2292" fmla="*/ 2493419 w 6530564"/>
              <a:gd name="connsiteY2292" fmla="*/ 1369732 h 6858000"/>
              <a:gd name="connsiteX2293" fmla="*/ 2502762 w 6530564"/>
              <a:gd name="connsiteY2293" fmla="*/ 1367737 h 6858000"/>
              <a:gd name="connsiteX2294" fmla="*/ 3694920 w 6530564"/>
              <a:gd name="connsiteY2294" fmla="*/ 1351768 h 6858000"/>
              <a:gd name="connsiteX2295" fmla="*/ 3592642 w 6530564"/>
              <a:gd name="connsiteY2295" fmla="*/ 1364711 h 6858000"/>
              <a:gd name="connsiteX2296" fmla="*/ 3590251 w 6530564"/>
              <a:gd name="connsiteY2296" fmla="*/ 1366035 h 6858000"/>
              <a:gd name="connsiteX2297" fmla="*/ 3570147 w 6530564"/>
              <a:gd name="connsiteY2297" fmla="*/ 1371907 h 6858000"/>
              <a:gd name="connsiteX2298" fmla="*/ 3581954 w 6530564"/>
              <a:gd name="connsiteY2298" fmla="*/ 1369853 h 6858000"/>
              <a:gd name="connsiteX2299" fmla="*/ 3656160 w 6530564"/>
              <a:gd name="connsiteY2299" fmla="*/ 1363370 h 6858000"/>
              <a:gd name="connsiteX2300" fmla="*/ 2840435 w 6530564"/>
              <a:gd name="connsiteY2300" fmla="*/ 1256522 h 6858000"/>
              <a:gd name="connsiteX2301" fmla="*/ 2754000 w 6530564"/>
              <a:gd name="connsiteY2301" fmla="*/ 1309177 h 6858000"/>
              <a:gd name="connsiteX2302" fmla="*/ 2675675 w 6530564"/>
              <a:gd name="connsiteY2302" fmla="*/ 1354070 h 6858000"/>
              <a:gd name="connsiteX2303" fmla="*/ 2664839 w 6530564"/>
              <a:gd name="connsiteY2303" fmla="*/ 1363575 h 6858000"/>
              <a:gd name="connsiteX2304" fmla="*/ 2606905 w 6530564"/>
              <a:gd name="connsiteY2304" fmla="*/ 1394572 h 6858000"/>
              <a:gd name="connsiteX2305" fmla="*/ 2606162 w 6530564"/>
              <a:gd name="connsiteY2305" fmla="*/ 1394488 h 6858000"/>
              <a:gd name="connsiteX2306" fmla="*/ 2606032 w 6530564"/>
              <a:gd name="connsiteY2306" fmla="*/ 1395039 h 6858000"/>
              <a:gd name="connsiteX2307" fmla="*/ 2569460 w 6530564"/>
              <a:gd name="connsiteY2307" fmla="*/ 1414607 h 6858000"/>
              <a:gd name="connsiteX2308" fmla="*/ 2535666 w 6530564"/>
              <a:gd name="connsiteY2308" fmla="*/ 1437142 h 6858000"/>
              <a:gd name="connsiteX2309" fmla="*/ 2557774 w 6530564"/>
              <a:gd name="connsiteY2309" fmla="*/ 1419478 h 6858000"/>
              <a:gd name="connsiteX2310" fmla="*/ 2743660 w 6530564"/>
              <a:gd name="connsiteY2310" fmla="*/ 1306503 h 6858000"/>
              <a:gd name="connsiteX2311" fmla="*/ 2803068 w 6530564"/>
              <a:gd name="connsiteY2311" fmla="*/ 1264505 h 6858000"/>
              <a:gd name="connsiteX2312" fmla="*/ 2840435 w 6530564"/>
              <a:gd name="connsiteY2312" fmla="*/ 1256522 h 6858000"/>
              <a:gd name="connsiteX2313" fmla="*/ 4291945 w 6530564"/>
              <a:gd name="connsiteY2313" fmla="*/ 1253435 h 6858000"/>
              <a:gd name="connsiteX2314" fmla="*/ 4284137 w 6530564"/>
              <a:gd name="connsiteY2314" fmla="*/ 1260101 h 6858000"/>
              <a:gd name="connsiteX2315" fmla="*/ 4298921 w 6530564"/>
              <a:gd name="connsiteY2315" fmla="*/ 1275741 h 6858000"/>
              <a:gd name="connsiteX2316" fmla="*/ 4450293 w 6530564"/>
              <a:gd name="connsiteY2316" fmla="*/ 1304623 h 6858000"/>
              <a:gd name="connsiteX2317" fmla="*/ 4748991 w 6530564"/>
              <a:gd name="connsiteY2317" fmla="*/ 1398504 h 6858000"/>
              <a:gd name="connsiteX2318" fmla="*/ 4900593 w 6530564"/>
              <a:gd name="connsiteY2318" fmla="*/ 1470664 h 6858000"/>
              <a:gd name="connsiteX2319" fmla="*/ 4850303 w 6530564"/>
              <a:gd name="connsiteY2319" fmla="*/ 1427852 h 6858000"/>
              <a:gd name="connsiteX2320" fmla="*/ 4826319 w 6530564"/>
              <a:gd name="connsiteY2320" fmla="*/ 1412622 h 6858000"/>
              <a:gd name="connsiteX2321" fmla="*/ 4657237 w 6530564"/>
              <a:gd name="connsiteY2321" fmla="*/ 1344015 h 6858000"/>
              <a:gd name="connsiteX2322" fmla="*/ 4341169 w 6530564"/>
              <a:gd name="connsiteY2322" fmla="*/ 1265164 h 6858000"/>
              <a:gd name="connsiteX2323" fmla="*/ 4302669 w 6530564"/>
              <a:gd name="connsiteY2323" fmla="*/ 1256309 h 6858000"/>
              <a:gd name="connsiteX2324" fmla="*/ 4291945 w 6530564"/>
              <a:gd name="connsiteY2324" fmla="*/ 1253435 h 6858000"/>
              <a:gd name="connsiteX2325" fmla="*/ 3498102 w 6530564"/>
              <a:gd name="connsiteY2325" fmla="*/ 1245800 h 6858000"/>
              <a:gd name="connsiteX2326" fmla="*/ 3459267 w 6530564"/>
              <a:gd name="connsiteY2326" fmla="*/ 1255133 h 6858000"/>
              <a:gd name="connsiteX2327" fmla="*/ 3459939 w 6530564"/>
              <a:gd name="connsiteY2327" fmla="*/ 1258420 h 6858000"/>
              <a:gd name="connsiteX2328" fmla="*/ 5350802 w 6530564"/>
              <a:gd name="connsiteY2328" fmla="*/ 1233036 h 6858000"/>
              <a:gd name="connsiteX2329" fmla="*/ 5351799 w 6530564"/>
              <a:gd name="connsiteY2329" fmla="*/ 1237706 h 6858000"/>
              <a:gd name="connsiteX2330" fmla="*/ 5346131 w 6530564"/>
              <a:gd name="connsiteY2330" fmla="*/ 1234033 h 6858000"/>
              <a:gd name="connsiteX2331" fmla="*/ 5350802 w 6530564"/>
              <a:gd name="connsiteY2331" fmla="*/ 1233036 h 6858000"/>
              <a:gd name="connsiteX2332" fmla="*/ 5345813 w 6530564"/>
              <a:gd name="connsiteY2332" fmla="*/ 1209681 h 6858000"/>
              <a:gd name="connsiteX2333" fmla="*/ 5351481 w 6530564"/>
              <a:gd name="connsiteY2333" fmla="*/ 1213353 h 6858000"/>
              <a:gd name="connsiteX2334" fmla="*/ 5346810 w 6530564"/>
              <a:gd name="connsiteY2334" fmla="*/ 1214352 h 6858000"/>
              <a:gd name="connsiteX2335" fmla="*/ 5345813 w 6530564"/>
              <a:gd name="connsiteY2335" fmla="*/ 1209681 h 6858000"/>
              <a:gd name="connsiteX2336" fmla="*/ 5343817 w 6530564"/>
              <a:gd name="connsiteY2336" fmla="*/ 1200338 h 6858000"/>
              <a:gd name="connsiteX2337" fmla="*/ 5349485 w 6530564"/>
              <a:gd name="connsiteY2337" fmla="*/ 1204011 h 6858000"/>
              <a:gd name="connsiteX2338" fmla="*/ 5339148 w 6530564"/>
              <a:gd name="connsiteY2338" fmla="*/ 1201337 h 6858000"/>
              <a:gd name="connsiteX2339" fmla="*/ 2761703 w 6530564"/>
              <a:gd name="connsiteY2339" fmla="*/ 1151674 h 6858000"/>
              <a:gd name="connsiteX2340" fmla="*/ 2748959 w 6530564"/>
              <a:gd name="connsiteY2340" fmla="*/ 1165559 h 6858000"/>
              <a:gd name="connsiteX2341" fmla="*/ 2722385 w 6530564"/>
              <a:gd name="connsiteY2341" fmla="*/ 1184058 h 6858000"/>
              <a:gd name="connsiteX2342" fmla="*/ 2716716 w 6530564"/>
              <a:gd name="connsiteY2342" fmla="*/ 1180384 h 6858000"/>
              <a:gd name="connsiteX2343" fmla="*/ 2657309 w 6530564"/>
              <a:gd name="connsiteY2343" fmla="*/ 1222382 h 6858000"/>
              <a:gd name="connsiteX2344" fmla="*/ 2660982 w 6530564"/>
              <a:gd name="connsiteY2344" fmla="*/ 1216713 h 6858000"/>
              <a:gd name="connsiteX2345" fmla="*/ 2595906 w 6530564"/>
              <a:gd name="connsiteY2345" fmla="*/ 1255037 h 6858000"/>
              <a:gd name="connsiteX2346" fmla="*/ 2592233 w 6530564"/>
              <a:gd name="connsiteY2346" fmla="*/ 1260706 h 6858000"/>
              <a:gd name="connsiteX2347" fmla="*/ 2606247 w 6530564"/>
              <a:gd name="connsiteY2347" fmla="*/ 1257713 h 6858000"/>
              <a:gd name="connsiteX2348" fmla="*/ 2577796 w 6530564"/>
              <a:gd name="connsiteY2348" fmla="*/ 1276001 h 6858000"/>
              <a:gd name="connsiteX2349" fmla="*/ 2560312 w 6530564"/>
              <a:gd name="connsiteY2349" fmla="*/ 1291636 h 6858000"/>
              <a:gd name="connsiteX2350" fmla="*/ 2559859 w 6530564"/>
              <a:gd name="connsiteY2350" fmla="*/ 1291860 h 6858000"/>
              <a:gd name="connsiteX2351" fmla="*/ 2560069 w 6530564"/>
              <a:gd name="connsiteY2351" fmla="*/ 1281620 h 6858000"/>
              <a:gd name="connsiteX2352" fmla="*/ 2548516 w 6530564"/>
              <a:gd name="connsiteY2352" fmla="*/ 1284699 h 6858000"/>
              <a:gd name="connsiteX2353" fmla="*/ 2549928 w 6530564"/>
              <a:gd name="connsiteY2353" fmla="*/ 1294165 h 6858000"/>
              <a:gd name="connsiteX2354" fmla="*/ 2549342 w 6530564"/>
              <a:gd name="connsiteY2354" fmla="*/ 1297035 h 6858000"/>
              <a:gd name="connsiteX2355" fmla="*/ 2541806 w 6530564"/>
              <a:gd name="connsiteY2355" fmla="*/ 1300742 h 6858000"/>
              <a:gd name="connsiteX2356" fmla="*/ 2470077 w 6530564"/>
              <a:gd name="connsiteY2356" fmla="*/ 1321264 h 6858000"/>
              <a:gd name="connsiteX2357" fmla="*/ 2536602 w 6530564"/>
              <a:gd name="connsiteY2357" fmla="*/ 1262438 h 6858000"/>
              <a:gd name="connsiteX2358" fmla="*/ 2712436 w 6530564"/>
              <a:gd name="connsiteY2358" fmla="*/ 1174174 h 6858000"/>
              <a:gd name="connsiteX2359" fmla="*/ 2745575 w 6530564"/>
              <a:gd name="connsiteY2359" fmla="*/ 1156796 h 6858000"/>
              <a:gd name="connsiteX2360" fmla="*/ 4763650 w 6530564"/>
              <a:gd name="connsiteY2360" fmla="*/ 1149529 h 6858000"/>
              <a:gd name="connsiteX2361" fmla="*/ 4771720 w 6530564"/>
              <a:gd name="connsiteY2361" fmla="*/ 1151618 h 6858000"/>
              <a:gd name="connsiteX2362" fmla="*/ 4767049 w 6530564"/>
              <a:gd name="connsiteY2362" fmla="*/ 1152615 h 6858000"/>
              <a:gd name="connsiteX2363" fmla="*/ 3314885 w 6530564"/>
              <a:gd name="connsiteY2363" fmla="*/ 1145389 h 6858000"/>
              <a:gd name="connsiteX2364" fmla="*/ 3311211 w 6530564"/>
              <a:gd name="connsiteY2364" fmla="*/ 1151058 h 6858000"/>
              <a:gd name="connsiteX2365" fmla="*/ 3306541 w 6530564"/>
              <a:gd name="connsiteY2365" fmla="*/ 1152057 h 6858000"/>
              <a:gd name="connsiteX2366" fmla="*/ 3287857 w 6530564"/>
              <a:gd name="connsiteY2366" fmla="*/ 1156047 h 6858000"/>
              <a:gd name="connsiteX2367" fmla="*/ 3264500 w 6530564"/>
              <a:gd name="connsiteY2367" fmla="*/ 1161037 h 6858000"/>
              <a:gd name="connsiteX2368" fmla="*/ 3259830 w 6530564"/>
              <a:gd name="connsiteY2368" fmla="*/ 1162034 h 6858000"/>
              <a:gd name="connsiteX2369" fmla="*/ 4063207 w 6530564"/>
              <a:gd name="connsiteY2369" fmla="*/ 1058776 h 6858000"/>
              <a:gd name="connsiteX2370" fmla="*/ 4059509 w 6530564"/>
              <a:gd name="connsiteY2370" fmla="*/ 1058914 h 6858000"/>
              <a:gd name="connsiteX2371" fmla="*/ 4059417 w 6530564"/>
              <a:gd name="connsiteY2371" fmla="*/ 1058899 h 6858000"/>
              <a:gd name="connsiteX2372" fmla="*/ 4063207 w 6530564"/>
              <a:gd name="connsiteY2372" fmla="*/ 1058776 h 6858000"/>
              <a:gd name="connsiteX2373" fmla="*/ 4081891 w 6530564"/>
              <a:gd name="connsiteY2373" fmla="*/ 1054786 h 6858000"/>
              <a:gd name="connsiteX2374" fmla="*/ 4111912 w 6530564"/>
              <a:gd name="connsiteY2374" fmla="*/ 1058138 h 6858000"/>
              <a:gd name="connsiteX2375" fmla="*/ 4112910 w 6530564"/>
              <a:gd name="connsiteY2375" fmla="*/ 1062810 h 6858000"/>
              <a:gd name="connsiteX2376" fmla="*/ 4191639 w 6530564"/>
              <a:gd name="connsiteY2376" fmla="*/ 1065528 h 6858000"/>
              <a:gd name="connsiteX2377" fmla="*/ 4224337 w 6530564"/>
              <a:gd name="connsiteY2377" fmla="*/ 1058542 h 6858000"/>
              <a:gd name="connsiteX2378" fmla="*/ 4215991 w 6530564"/>
              <a:gd name="connsiteY2378" fmla="*/ 1065208 h 6858000"/>
              <a:gd name="connsiteX2379" fmla="*/ 4290049 w 6530564"/>
              <a:gd name="connsiteY2379" fmla="*/ 1068923 h 6858000"/>
              <a:gd name="connsiteX2380" fmla="*/ 4379117 w 6530564"/>
              <a:gd name="connsiteY2380" fmla="*/ 1074315 h 6858000"/>
              <a:gd name="connsiteX2381" fmla="*/ 4385785 w 6530564"/>
              <a:gd name="connsiteY2381" fmla="*/ 1082660 h 6858000"/>
              <a:gd name="connsiteX2382" fmla="*/ 4398799 w 6530564"/>
              <a:gd name="connsiteY2382" fmla="*/ 1074995 h 6858000"/>
              <a:gd name="connsiteX2383" fmla="*/ 4443833 w 6530564"/>
              <a:gd name="connsiteY2383" fmla="*/ 1080026 h 6858000"/>
              <a:gd name="connsiteX2384" fmla="*/ 4461839 w 6530564"/>
              <a:gd name="connsiteY2384" fmla="*/ 1095716 h 6858000"/>
              <a:gd name="connsiteX2385" fmla="*/ 4489863 w 6530564"/>
              <a:gd name="connsiteY2385" fmla="*/ 1089728 h 6858000"/>
              <a:gd name="connsiteX2386" fmla="*/ 4486191 w 6530564"/>
              <a:gd name="connsiteY2386" fmla="*/ 1095398 h 6858000"/>
              <a:gd name="connsiteX2387" fmla="*/ 4565917 w 6530564"/>
              <a:gd name="connsiteY2387" fmla="*/ 1102785 h 6858000"/>
              <a:gd name="connsiteX2388" fmla="*/ 4547233 w 6530564"/>
              <a:gd name="connsiteY2388" fmla="*/ 1106777 h 6858000"/>
              <a:gd name="connsiteX2389" fmla="*/ 4609273 w 6530564"/>
              <a:gd name="connsiteY2389" fmla="*/ 1122827 h 6858000"/>
              <a:gd name="connsiteX2390" fmla="*/ 4611947 w 6530564"/>
              <a:gd name="connsiteY2390" fmla="*/ 1112488 h 6858000"/>
              <a:gd name="connsiteX2391" fmla="*/ 4628956 w 6530564"/>
              <a:gd name="connsiteY2391" fmla="*/ 1123507 h 6858000"/>
              <a:gd name="connsiteX2392" fmla="*/ 4668320 w 6530564"/>
              <a:gd name="connsiteY2392" fmla="*/ 1124867 h 6858000"/>
              <a:gd name="connsiteX2393" fmla="*/ 4679657 w 6530564"/>
              <a:gd name="connsiteY2393" fmla="*/ 1132212 h 6858000"/>
              <a:gd name="connsiteX2394" fmla="*/ 4685326 w 6530564"/>
              <a:gd name="connsiteY2394" fmla="*/ 1135884 h 6858000"/>
              <a:gd name="connsiteX2395" fmla="*/ 4684329 w 6530564"/>
              <a:gd name="connsiteY2395" fmla="*/ 1131215 h 6858000"/>
              <a:gd name="connsiteX2396" fmla="*/ 4673989 w 6530564"/>
              <a:gd name="connsiteY2396" fmla="*/ 1128538 h 6858000"/>
              <a:gd name="connsiteX2397" fmla="*/ 4716346 w 6530564"/>
              <a:gd name="connsiteY2397" fmla="*/ 1143910 h 6858000"/>
              <a:gd name="connsiteX2398" fmla="*/ 4737026 w 6530564"/>
              <a:gd name="connsiteY2398" fmla="*/ 1149261 h 6858000"/>
              <a:gd name="connsiteX2399" fmla="*/ 4733035 w 6530564"/>
              <a:gd name="connsiteY2399" fmla="*/ 1130577 h 6858000"/>
              <a:gd name="connsiteX2400" fmla="*/ 4760516 w 6530564"/>
              <a:gd name="connsiteY2400" fmla="*/ 1146683 h 6858000"/>
              <a:gd name="connsiteX2401" fmla="*/ 4763650 w 6530564"/>
              <a:gd name="connsiteY2401" fmla="*/ 1149529 h 6858000"/>
              <a:gd name="connsiteX2402" fmla="*/ 4761379 w 6530564"/>
              <a:gd name="connsiteY2402" fmla="*/ 1148942 h 6858000"/>
              <a:gd name="connsiteX2403" fmla="*/ 4752037 w 6530564"/>
              <a:gd name="connsiteY2403" fmla="*/ 1150938 h 6858000"/>
              <a:gd name="connsiteX2404" fmla="*/ 4757706 w 6530564"/>
              <a:gd name="connsiteY2404" fmla="*/ 1154611 h 6858000"/>
              <a:gd name="connsiteX2405" fmla="*/ 4772717 w 6530564"/>
              <a:gd name="connsiteY2405" fmla="*/ 1156287 h 6858000"/>
              <a:gd name="connsiteX2406" fmla="*/ 4799066 w 6530564"/>
              <a:gd name="connsiteY2406" fmla="*/ 1165310 h 6858000"/>
              <a:gd name="connsiteX2407" fmla="*/ 4881786 w 6530564"/>
              <a:gd name="connsiteY2407" fmla="*/ 1186712 h 6858000"/>
              <a:gd name="connsiteX2408" fmla="*/ 4886457 w 6530564"/>
              <a:gd name="connsiteY2408" fmla="*/ 1185713 h 6858000"/>
              <a:gd name="connsiteX2409" fmla="*/ 4878113 w 6530564"/>
              <a:gd name="connsiteY2409" fmla="*/ 1192381 h 6858000"/>
              <a:gd name="connsiteX2410" fmla="*/ 4883782 w 6530564"/>
              <a:gd name="connsiteY2410" fmla="*/ 1196053 h 6858000"/>
              <a:gd name="connsiteX2411" fmla="*/ 4887456 w 6530564"/>
              <a:gd name="connsiteY2411" fmla="*/ 1190385 h 6858000"/>
              <a:gd name="connsiteX2412" fmla="*/ 4920471 w 6530564"/>
              <a:gd name="connsiteY2412" fmla="*/ 1207753 h 6858000"/>
              <a:gd name="connsiteX2413" fmla="*/ 4968499 w 6530564"/>
              <a:gd name="connsiteY2413" fmla="*/ 1226796 h 6858000"/>
              <a:gd name="connsiteX2414" fmla="*/ 4972171 w 6530564"/>
              <a:gd name="connsiteY2414" fmla="*/ 1221128 h 6858000"/>
              <a:gd name="connsiteX2415" fmla="*/ 4988181 w 6530564"/>
              <a:gd name="connsiteY2415" fmla="*/ 1227477 h 6858000"/>
              <a:gd name="connsiteX2416" fmla="*/ 4996843 w 6530564"/>
              <a:gd name="connsiteY2416" fmla="*/ 1245163 h 6858000"/>
              <a:gd name="connsiteX2417" fmla="*/ 5025867 w 6530564"/>
              <a:gd name="connsiteY2417" fmla="*/ 1243845 h 6858000"/>
              <a:gd name="connsiteX2418" fmla="*/ 5026865 w 6530564"/>
              <a:gd name="connsiteY2418" fmla="*/ 1248516 h 6858000"/>
              <a:gd name="connsiteX2419" fmla="*/ 5039201 w 6530564"/>
              <a:gd name="connsiteY2419" fmla="*/ 1260533 h 6858000"/>
              <a:gd name="connsiteX2420" fmla="*/ 5054211 w 6530564"/>
              <a:gd name="connsiteY2420" fmla="*/ 1262212 h 6858000"/>
              <a:gd name="connsiteX2421" fmla="*/ 5059881 w 6530564"/>
              <a:gd name="connsiteY2421" fmla="*/ 1265883 h 6858000"/>
              <a:gd name="connsiteX2422" fmla="*/ 5060879 w 6530564"/>
              <a:gd name="connsiteY2422" fmla="*/ 1270554 h 6858000"/>
              <a:gd name="connsiteX2423" fmla="*/ 5065550 w 6530564"/>
              <a:gd name="connsiteY2423" fmla="*/ 1269557 h 6858000"/>
              <a:gd name="connsiteX2424" fmla="*/ 5063554 w 6530564"/>
              <a:gd name="connsiteY2424" fmla="*/ 1260214 h 6858000"/>
              <a:gd name="connsiteX2425" fmla="*/ 5085233 w 6530564"/>
              <a:gd name="connsiteY2425" fmla="*/ 1270236 h 6858000"/>
              <a:gd name="connsiteX2426" fmla="*/ 5089903 w 6530564"/>
              <a:gd name="connsiteY2426" fmla="*/ 1269239 h 6858000"/>
              <a:gd name="connsiteX2427" fmla="*/ 5092897 w 6530564"/>
              <a:gd name="connsiteY2427" fmla="*/ 1283251 h 6858000"/>
              <a:gd name="connsiteX2428" fmla="*/ 5135255 w 6530564"/>
              <a:gd name="connsiteY2428" fmla="*/ 1298622 h 6858000"/>
              <a:gd name="connsiteX2429" fmla="*/ 5140923 w 6530564"/>
              <a:gd name="connsiteY2429" fmla="*/ 1302296 h 6858000"/>
              <a:gd name="connsiteX2430" fmla="*/ 5136253 w 6530564"/>
              <a:gd name="connsiteY2430" fmla="*/ 1303293 h 6858000"/>
              <a:gd name="connsiteX2431" fmla="*/ 5125914 w 6530564"/>
              <a:gd name="connsiteY2431" fmla="*/ 1300618 h 6858000"/>
              <a:gd name="connsiteX2432" fmla="*/ 5126911 w 6530564"/>
              <a:gd name="connsiteY2432" fmla="*/ 1305290 h 6858000"/>
              <a:gd name="connsiteX2433" fmla="*/ 5141923 w 6530564"/>
              <a:gd name="connsiteY2433" fmla="*/ 1306967 h 6858000"/>
              <a:gd name="connsiteX2434" fmla="*/ 5185279 w 6530564"/>
              <a:gd name="connsiteY2434" fmla="*/ 1327010 h 6858000"/>
              <a:gd name="connsiteX2435" fmla="*/ 5188951 w 6530564"/>
              <a:gd name="connsiteY2435" fmla="*/ 1321339 h 6858000"/>
              <a:gd name="connsiteX2436" fmla="*/ 5201287 w 6530564"/>
              <a:gd name="connsiteY2436" fmla="*/ 1333357 h 6858000"/>
              <a:gd name="connsiteX2437" fmla="*/ 5212625 w 6530564"/>
              <a:gd name="connsiteY2437" fmla="*/ 1340704 h 6858000"/>
              <a:gd name="connsiteX2438" fmla="*/ 5234302 w 6530564"/>
              <a:gd name="connsiteY2438" fmla="*/ 1350726 h 6858000"/>
              <a:gd name="connsiteX2439" fmla="*/ 5261651 w 6530564"/>
              <a:gd name="connsiteY2439" fmla="*/ 1364420 h 6858000"/>
              <a:gd name="connsiteX2440" fmla="*/ 5263645 w 6530564"/>
              <a:gd name="connsiteY2440" fmla="*/ 1373761 h 6858000"/>
              <a:gd name="connsiteX2441" fmla="*/ 5269315 w 6530564"/>
              <a:gd name="connsiteY2441" fmla="*/ 1377435 h 6858000"/>
              <a:gd name="connsiteX2442" fmla="*/ 5279654 w 6530564"/>
              <a:gd name="connsiteY2442" fmla="*/ 1380109 h 6858000"/>
              <a:gd name="connsiteX2443" fmla="*/ 5284325 w 6530564"/>
              <a:gd name="connsiteY2443" fmla="*/ 1379110 h 6858000"/>
              <a:gd name="connsiteX2444" fmla="*/ 5307001 w 6530564"/>
              <a:gd name="connsiteY2444" fmla="*/ 1393803 h 6858000"/>
              <a:gd name="connsiteX2445" fmla="*/ 5311671 w 6530564"/>
              <a:gd name="connsiteY2445" fmla="*/ 1392806 h 6858000"/>
              <a:gd name="connsiteX2446" fmla="*/ 5374031 w 6530564"/>
              <a:gd name="connsiteY2446" fmla="*/ 1433210 h 6858000"/>
              <a:gd name="connsiteX2447" fmla="*/ 5375029 w 6530564"/>
              <a:gd name="connsiteY2447" fmla="*/ 1437880 h 6858000"/>
              <a:gd name="connsiteX2448" fmla="*/ 5379701 w 6530564"/>
              <a:gd name="connsiteY2448" fmla="*/ 1436882 h 6858000"/>
              <a:gd name="connsiteX2449" fmla="*/ 5497073 w 6530564"/>
              <a:gd name="connsiteY2449" fmla="*/ 1529027 h 6858000"/>
              <a:gd name="connsiteX2450" fmla="*/ 5580429 w 6530564"/>
              <a:gd name="connsiteY2450" fmla="*/ 1599135 h 6858000"/>
              <a:gd name="connsiteX2451" fmla="*/ 5606099 w 6530564"/>
              <a:gd name="connsiteY2451" fmla="*/ 1627840 h 6858000"/>
              <a:gd name="connsiteX2452" fmla="*/ 5746464 w 6530564"/>
              <a:gd name="connsiteY2452" fmla="*/ 1759030 h 6858000"/>
              <a:gd name="connsiteX2453" fmla="*/ 5757803 w 6530564"/>
              <a:gd name="connsiteY2453" fmla="*/ 1766375 h 6858000"/>
              <a:gd name="connsiteX2454" fmla="*/ 5758800 w 6530564"/>
              <a:gd name="connsiteY2454" fmla="*/ 1771047 h 6858000"/>
              <a:gd name="connsiteX2455" fmla="*/ 5801477 w 6530564"/>
              <a:gd name="connsiteY2455" fmla="*/ 1810771 h 6858000"/>
              <a:gd name="connsiteX2456" fmla="*/ 5807146 w 6530564"/>
              <a:gd name="connsiteY2456" fmla="*/ 1814445 h 6858000"/>
              <a:gd name="connsiteX2457" fmla="*/ 5812815 w 6530564"/>
              <a:gd name="connsiteY2457" fmla="*/ 1818118 h 6858000"/>
              <a:gd name="connsiteX2458" fmla="*/ 5863156 w 6530564"/>
              <a:gd name="connsiteY2458" fmla="*/ 1870858 h 6858000"/>
              <a:gd name="connsiteX2459" fmla="*/ 5854493 w 6530564"/>
              <a:gd name="connsiteY2459" fmla="*/ 1853171 h 6858000"/>
              <a:gd name="connsiteX2460" fmla="*/ 5860163 w 6530564"/>
              <a:gd name="connsiteY2460" fmla="*/ 1856844 h 6858000"/>
              <a:gd name="connsiteX2461" fmla="*/ 5861160 w 6530564"/>
              <a:gd name="connsiteY2461" fmla="*/ 1861515 h 6858000"/>
              <a:gd name="connsiteX2462" fmla="*/ 5865831 w 6530564"/>
              <a:gd name="connsiteY2462" fmla="*/ 1860516 h 6858000"/>
              <a:gd name="connsiteX2463" fmla="*/ 5870503 w 6530564"/>
              <a:gd name="connsiteY2463" fmla="*/ 1859519 h 6858000"/>
              <a:gd name="connsiteX2464" fmla="*/ 5876171 w 6530564"/>
              <a:gd name="connsiteY2464" fmla="*/ 1863192 h 6858000"/>
              <a:gd name="connsiteX2465" fmla="*/ 5901841 w 6530564"/>
              <a:gd name="connsiteY2465" fmla="*/ 1891897 h 6858000"/>
              <a:gd name="connsiteX2466" fmla="*/ 5900842 w 6530564"/>
              <a:gd name="connsiteY2466" fmla="*/ 1887226 h 6858000"/>
              <a:gd name="connsiteX2467" fmla="*/ 5906513 w 6530564"/>
              <a:gd name="connsiteY2467" fmla="*/ 1890900 h 6858000"/>
              <a:gd name="connsiteX2468" fmla="*/ 5913179 w 6530564"/>
              <a:gd name="connsiteY2468" fmla="*/ 1899244 h 6858000"/>
              <a:gd name="connsiteX2469" fmla="*/ 5897169 w 6530564"/>
              <a:gd name="connsiteY2469" fmla="*/ 1892896 h 6858000"/>
              <a:gd name="connsiteX2470" fmla="*/ 5904836 w 6530564"/>
              <a:gd name="connsiteY2470" fmla="*/ 1905910 h 6858000"/>
              <a:gd name="connsiteX2471" fmla="*/ 5900163 w 6530564"/>
              <a:gd name="connsiteY2471" fmla="*/ 1906909 h 6858000"/>
              <a:gd name="connsiteX2472" fmla="*/ 5901161 w 6530564"/>
              <a:gd name="connsiteY2472" fmla="*/ 1911580 h 6858000"/>
              <a:gd name="connsiteX2473" fmla="*/ 5911502 w 6530564"/>
              <a:gd name="connsiteY2473" fmla="*/ 1914255 h 6858000"/>
              <a:gd name="connsiteX2474" fmla="*/ 5925833 w 6530564"/>
              <a:gd name="connsiteY2474" fmla="*/ 1935614 h 6858000"/>
              <a:gd name="connsiteX2475" fmla="*/ 5922160 w 6530564"/>
              <a:gd name="connsiteY2475" fmla="*/ 1941283 h 6858000"/>
              <a:gd name="connsiteX2476" fmla="*/ 5943160 w 6530564"/>
              <a:gd name="connsiteY2476" fmla="*/ 1970986 h 6858000"/>
              <a:gd name="connsiteX2477" fmla="*/ 5948829 w 6530564"/>
              <a:gd name="connsiteY2477" fmla="*/ 1974660 h 6858000"/>
              <a:gd name="connsiteX2478" fmla="*/ 5955496 w 6530564"/>
              <a:gd name="connsiteY2478" fmla="*/ 1983002 h 6858000"/>
              <a:gd name="connsiteX2479" fmla="*/ 5965836 w 6530564"/>
              <a:gd name="connsiteY2479" fmla="*/ 1985679 h 6858000"/>
              <a:gd name="connsiteX2480" fmla="*/ 5966833 w 6530564"/>
              <a:gd name="connsiteY2480" fmla="*/ 1990349 h 6858000"/>
              <a:gd name="connsiteX2481" fmla="*/ 5963161 w 6530564"/>
              <a:gd name="connsiteY2481" fmla="*/ 1996018 h 6858000"/>
              <a:gd name="connsiteX2482" fmla="*/ 5964158 w 6530564"/>
              <a:gd name="connsiteY2482" fmla="*/ 2000689 h 6858000"/>
              <a:gd name="connsiteX2483" fmla="*/ 5969828 w 6530564"/>
              <a:gd name="connsiteY2483" fmla="*/ 2004363 h 6858000"/>
              <a:gd name="connsiteX2484" fmla="*/ 5973499 w 6530564"/>
              <a:gd name="connsiteY2484" fmla="*/ 1998694 h 6858000"/>
              <a:gd name="connsiteX2485" fmla="*/ 5972502 w 6530564"/>
              <a:gd name="connsiteY2485" fmla="*/ 1994021 h 6858000"/>
              <a:gd name="connsiteX2486" fmla="*/ 5971505 w 6530564"/>
              <a:gd name="connsiteY2486" fmla="*/ 1989352 h 6858000"/>
              <a:gd name="connsiteX2487" fmla="*/ 5975177 w 6530564"/>
              <a:gd name="connsiteY2487" fmla="*/ 1983681 h 6858000"/>
              <a:gd name="connsiteX2488" fmla="*/ 5979849 w 6530564"/>
              <a:gd name="connsiteY2488" fmla="*/ 1982684 h 6858000"/>
              <a:gd name="connsiteX2489" fmla="*/ 5986515 w 6530564"/>
              <a:gd name="connsiteY2489" fmla="*/ 1991028 h 6858000"/>
              <a:gd name="connsiteX2490" fmla="*/ 5987513 w 6530564"/>
              <a:gd name="connsiteY2490" fmla="*/ 1995699 h 6858000"/>
              <a:gd name="connsiteX2491" fmla="*/ 5983841 w 6530564"/>
              <a:gd name="connsiteY2491" fmla="*/ 2001368 h 6858000"/>
              <a:gd name="connsiteX2492" fmla="*/ 5991504 w 6530564"/>
              <a:gd name="connsiteY2492" fmla="*/ 2014383 h 6858000"/>
              <a:gd name="connsiteX2493" fmla="*/ 5997174 w 6530564"/>
              <a:gd name="connsiteY2493" fmla="*/ 2018057 h 6858000"/>
              <a:gd name="connsiteX2494" fmla="*/ 5996177 w 6530564"/>
              <a:gd name="connsiteY2494" fmla="*/ 2013386 h 6858000"/>
              <a:gd name="connsiteX2495" fmla="*/ 5989508 w 6530564"/>
              <a:gd name="connsiteY2495" fmla="*/ 2005041 h 6858000"/>
              <a:gd name="connsiteX2496" fmla="*/ 5993182 w 6530564"/>
              <a:gd name="connsiteY2496" fmla="*/ 1999373 h 6858000"/>
              <a:gd name="connsiteX2497" fmla="*/ 5999848 w 6530564"/>
              <a:gd name="connsiteY2497" fmla="*/ 2007716 h 6858000"/>
              <a:gd name="connsiteX2498" fmla="*/ 6017173 w 6530564"/>
              <a:gd name="connsiteY2498" fmla="*/ 2043089 h 6858000"/>
              <a:gd name="connsiteX2499" fmla="*/ 6013501 w 6530564"/>
              <a:gd name="connsiteY2499" fmla="*/ 2048758 h 6858000"/>
              <a:gd name="connsiteX2500" fmla="*/ 6002163 w 6530564"/>
              <a:gd name="connsiteY2500" fmla="*/ 2041411 h 6858000"/>
              <a:gd name="connsiteX2501" fmla="*/ 6039490 w 6530564"/>
              <a:gd name="connsiteY2501" fmla="*/ 2101816 h 6858000"/>
              <a:gd name="connsiteX2502" fmla="*/ 6064163 w 6530564"/>
              <a:gd name="connsiteY2502" fmla="*/ 2125850 h 6858000"/>
              <a:gd name="connsiteX2503" fmla="*/ 6068833 w 6530564"/>
              <a:gd name="connsiteY2503" fmla="*/ 2124853 h 6858000"/>
              <a:gd name="connsiteX2504" fmla="*/ 6076497 w 6530564"/>
              <a:gd name="connsiteY2504" fmla="*/ 2137868 h 6858000"/>
              <a:gd name="connsiteX2505" fmla="*/ 6080171 w 6530564"/>
              <a:gd name="connsiteY2505" fmla="*/ 2132198 h 6858000"/>
              <a:gd name="connsiteX2506" fmla="*/ 6081170 w 6530564"/>
              <a:gd name="connsiteY2506" fmla="*/ 2136869 h 6858000"/>
              <a:gd name="connsiteX2507" fmla="*/ 6095499 w 6530564"/>
              <a:gd name="connsiteY2507" fmla="*/ 2158228 h 6858000"/>
              <a:gd name="connsiteX2508" fmla="*/ 6108834 w 6530564"/>
              <a:gd name="connsiteY2508" fmla="*/ 2174916 h 6858000"/>
              <a:gd name="connsiteX2509" fmla="*/ 6118495 w 6530564"/>
              <a:gd name="connsiteY2509" fmla="*/ 2197274 h 6858000"/>
              <a:gd name="connsiteX2510" fmla="*/ 6133507 w 6530564"/>
              <a:gd name="connsiteY2510" fmla="*/ 2198951 h 6858000"/>
              <a:gd name="connsiteX2511" fmla="*/ 6135503 w 6530564"/>
              <a:gd name="connsiteY2511" fmla="*/ 2208293 h 6858000"/>
              <a:gd name="connsiteX2512" fmla="*/ 6130831 w 6530564"/>
              <a:gd name="connsiteY2512" fmla="*/ 2209292 h 6858000"/>
              <a:gd name="connsiteX2513" fmla="*/ 6131829 w 6530564"/>
              <a:gd name="connsiteY2513" fmla="*/ 2213962 h 6858000"/>
              <a:gd name="connsiteX2514" fmla="*/ 6132827 w 6530564"/>
              <a:gd name="connsiteY2514" fmla="*/ 2218633 h 6858000"/>
              <a:gd name="connsiteX2515" fmla="*/ 6124482 w 6530564"/>
              <a:gd name="connsiteY2515" fmla="*/ 2225300 h 6858000"/>
              <a:gd name="connsiteX2516" fmla="*/ 6219136 w 6530564"/>
              <a:gd name="connsiteY2516" fmla="*/ 2371140 h 6858000"/>
              <a:gd name="connsiteX2517" fmla="*/ 6233467 w 6530564"/>
              <a:gd name="connsiteY2517" fmla="*/ 2392499 h 6858000"/>
              <a:gd name="connsiteX2518" fmla="*/ 6244127 w 6530564"/>
              <a:gd name="connsiteY2518" fmla="*/ 2419528 h 6858000"/>
              <a:gd name="connsiteX2519" fmla="*/ 6260453 w 6530564"/>
              <a:gd name="connsiteY2519" fmla="*/ 2450229 h 6858000"/>
              <a:gd name="connsiteX2520" fmla="*/ 6279775 w 6530564"/>
              <a:gd name="connsiteY2520" fmla="*/ 2494943 h 6858000"/>
              <a:gd name="connsiteX2521" fmla="*/ 6295105 w 6530564"/>
              <a:gd name="connsiteY2521" fmla="*/ 2520973 h 6858000"/>
              <a:gd name="connsiteX2522" fmla="*/ 6296102 w 6530564"/>
              <a:gd name="connsiteY2522" fmla="*/ 2525645 h 6858000"/>
              <a:gd name="connsiteX2523" fmla="*/ 6313429 w 6530564"/>
              <a:gd name="connsiteY2523" fmla="*/ 2561017 h 6858000"/>
              <a:gd name="connsiteX2524" fmla="*/ 6329756 w 6530564"/>
              <a:gd name="connsiteY2524" fmla="*/ 2591718 h 6858000"/>
              <a:gd name="connsiteX2525" fmla="*/ 6337421 w 6530564"/>
              <a:gd name="connsiteY2525" fmla="*/ 2604732 h 6858000"/>
              <a:gd name="connsiteX2526" fmla="*/ 6338419 w 6530564"/>
              <a:gd name="connsiteY2526" fmla="*/ 2609405 h 6858000"/>
              <a:gd name="connsiteX2527" fmla="*/ 6336741 w 6530564"/>
              <a:gd name="connsiteY2527" fmla="*/ 2624414 h 6858000"/>
              <a:gd name="connsiteX2528" fmla="*/ 6337739 w 6530564"/>
              <a:gd name="connsiteY2528" fmla="*/ 2629085 h 6858000"/>
              <a:gd name="connsiteX2529" fmla="*/ 6344407 w 6530564"/>
              <a:gd name="connsiteY2529" fmla="*/ 2637430 h 6858000"/>
              <a:gd name="connsiteX2530" fmla="*/ 6349077 w 6530564"/>
              <a:gd name="connsiteY2530" fmla="*/ 2636431 h 6858000"/>
              <a:gd name="connsiteX2531" fmla="*/ 6354067 w 6530564"/>
              <a:gd name="connsiteY2531" fmla="*/ 2659786 h 6858000"/>
              <a:gd name="connsiteX2532" fmla="*/ 6359736 w 6530564"/>
              <a:gd name="connsiteY2532" fmla="*/ 2663460 h 6858000"/>
              <a:gd name="connsiteX2533" fmla="*/ 6358737 w 6530564"/>
              <a:gd name="connsiteY2533" fmla="*/ 2658789 h 6858000"/>
              <a:gd name="connsiteX2534" fmla="*/ 6349077 w 6530564"/>
              <a:gd name="connsiteY2534" fmla="*/ 2636431 h 6858000"/>
              <a:gd name="connsiteX2535" fmla="*/ 6353747 w 6530564"/>
              <a:gd name="connsiteY2535" fmla="*/ 2635434 h 6858000"/>
              <a:gd name="connsiteX2536" fmla="*/ 6355743 w 6530564"/>
              <a:gd name="connsiteY2536" fmla="*/ 2644776 h 6858000"/>
              <a:gd name="connsiteX2537" fmla="*/ 6356743 w 6530564"/>
              <a:gd name="connsiteY2537" fmla="*/ 2649446 h 6858000"/>
              <a:gd name="connsiteX2538" fmla="*/ 6364407 w 6530564"/>
              <a:gd name="connsiteY2538" fmla="*/ 2662461 h 6858000"/>
              <a:gd name="connsiteX2539" fmla="*/ 6368398 w 6530564"/>
              <a:gd name="connsiteY2539" fmla="*/ 2681145 h 6858000"/>
              <a:gd name="connsiteX2540" fmla="*/ 6362729 w 6530564"/>
              <a:gd name="connsiteY2540" fmla="*/ 2677473 h 6858000"/>
              <a:gd name="connsiteX2541" fmla="*/ 6364725 w 6530564"/>
              <a:gd name="connsiteY2541" fmla="*/ 2686814 h 6858000"/>
              <a:gd name="connsiteX2542" fmla="*/ 6366721 w 6530564"/>
              <a:gd name="connsiteY2542" fmla="*/ 2696158 h 6858000"/>
              <a:gd name="connsiteX2543" fmla="*/ 6374387 w 6530564"/>
              <a:gd name="connsiteY2543" fmla="*/ 2709173 h 6858000"/>
              <a:gd name="connsiteX2544" fmla="*/ 6376383 w 6530564"/>
              <a:gd name="connsiteY2544" fmla="*/ 2718513 h 6858000"/>
              <a:gd name="connsiteX2545" fmla="*/ 6382051 w 6530564"/>
              <a:gd name="connsiteY2545" fmla="*/ 2722187 h 6858000"/>
              <a:gd name="connsiteX2546" fmla="*/ 6389717 w 6530564"/>
              <a:gd name="connsiteY2546" fmla="*/ 2735202 h 6858000"/>
              <a:gd name="connsiteX2547" fmla="*/ 6391713 w 6530564"/>
              <a:gd name="connsiteY2547" fmla="*/ 2744545 h 6858000"/>
              <a:gd name="connsiteX2548" fmla="*/ 6388038 w 6530564"/>
              <a:gd name="connsiteY2548" fmla="*/ 2750212 h 6858000"/>
              <a:gd name="connsiteX2549" fmla="*/ 6393708 w 6530564"/>
              <a:gd name="connsiteY2549" fmla="*/ 2753886 h 6858000"/>
              <a:gd name="connsiteX2550" fmla="*/ 6391033 w 6530564"/>
              <a:gd name="connsiteY2550" fmla="*/ 2764226 h 6858000"/>
              <a:gd name="connsiteX2551" fmla="*/ 6397701 w 6530564"/>
              <a:gd name="connsiteY2551" fmla="*/ 2772572 h 6858000"/>
              <a:gd name="connsiteX2552" fmla="*/ 6401373 w 6530564"/>
              <a:gd name="connsiteY2552" fmla="*/ 2766901 h 6858000"/>
              <a:gd name="connsiteX2553" fmla="*/ 6404367 w 6530564"/>
              <a:gd name="connsiteY2553" fmla="*/ 2780914 h 6858000"/>
              <a:gd name="connsiteX2554" fmla="*/ 6405364 w 6530564"/>
              <a:gd name="connsiteY2554" fmla="*/ 2785585 h 6858000"/>
              <a:gd name="connsiteX2555" fmla="*/ 6414027 w 6530564"/>
              <a:gd name="connsiteY2555" fmla="*/ 2803272 h 6858000"/>
              <a:gd name="connsiteX2556" fmla="*/ 6418019 w 6530564"/>
              <a:gd name="connsiteY2556" fmla="*/ 2821954 h 6858000"/>
              <a:gd name="connsiteX2557" fmla="*/ 6421013 w 6530564"/>
              <a:gd name="connsiteY2557" fmla="*/ 2835968 h 6858000"/>
              <a:gd name="connsiteX2558" fmla="*/ 6427000 w 6530564"/>
              <a:gd name="connsiteY2558" fmla="*/ 2863995 h 6858000"/>
              <a:gd name="connsiteX2559" fmla="*/ 6425323 w 6530564"/>
              <a:gd name="connsiteY2559" fmla="*/ 2879006 h 6858000"/>
              <a:gd name="connsiteX2560" fmla="*/ 6419655 w 6530564"/>
              <a:gd name="connsiteY2560" fmla="*/ 2875334 h 6858000"/>
              <a:gd name="connsiteX2561" fmla="*/ 6413985 w 6530564"/>
              <a:gd name="connsiteY2561" fmla="*/ 2871660 h 6858000"/>
              <a:gd name="connsiteX2562" fmla="*/ 6414983 w 6530564"/>
              <a:gd name="connsiteY2562" fmla="*/ 2876331 h 6858000"/>
              <a:gd name="connsiteX2563" fmla="*/ 6415981 w 6530564"/>
              <a:gd name="connsiteY2563" fmla="*/ 2881001 h 6858000"/>
              <a:gd name="connsiteX2564" fmla="*/ 6421651 w 6530564"/>
              <a:gd name="connsiteY2564" fmla="*/ 2884673 h 6858000"/>
              <a:gd name="connsiteX2565" fmla="*/ 6427318 w 6530564"/>
              <a:gd name="connsiteY2565" fmla="*/ 2888347 h 6858000"/>
              <a:gd name="connsiteX2566" fmla="*/ 6431991 w 6530564"/>
              <a:gd name="connsiteY2566" fmla="*/ 2887350 h 6858000"/>
              <a:gd name="connsiteX2567" fmla="*/ 6431673 w 6530564"/>
              <a:gd name="connsiteY2567" fmla="*/ 2862996 h 6858000"/>
              <a:gd name="connsiteX2568" fmla="*/ 6430674 w 6530564"/>
              <a:gd name="connsiteY2568" fmla="*/ 2858326 h 6858000"/>
              <a:gd name="connsiteX2569" fmla="*/ 6426681 w 6530564"/>
              <a:gd name="connsiteY2569" fmla="*/ 2839641 h 6858000"/>
              <a:gd name="connsiteX2570" fmla="*/ 6424687 w 6530564"/>
              <a:gd name="connsiteY2570" fmla="*/ 2830300 h 6858000"/>
              <a:gd name="connsiteX2571" fmla="*/ 6434347 w 6530564"/>
              <a:gd name="connsiteY2571" fmla="*/ 2852656 h 6858000"/>
              <a:gd name="connsiteX2572" fmla="*/ 6445005 w 6530564"/>
              <a:gd name="connsiteY2572" fmla="*/ 2879684 h 6858000"/>
              <a:gd name="connsiteX2573" fmla="*/ 6442331 w 6530564"/>
              <a:gd name="connsiteY2573" fmla="*/ 2890025 h 6858000"/>
              <a:gd name="connsiteX2574" fmla="*/ 6444325 w 6530564"/>
              <a:gd name="connsiteY2574" fmla="*/ 2899366 h 6858000"/>
              <a:gd name="connsiteX2575" fmla="*/ 6449315 w 6530564"/>
              <a:gd name="connsiteY2575" fmla="*/ 2922721 h 6858000"/>
              <a:gd name="connsiteX2576" fmla="*/ 6443648 w 6530564"/>
              <a:gd name="connsiteY2576" fmla="*/ 2919049 h 6858000"/>
              <a:gd name="connsiteX2577" fmla="*/ 6438977 w 6530564"/>
              <a:gd name="connsiteY2577" fmla="*/ 2920046 h 6858000"/>
              <a:gd name="connsiteX2578" fmla="*/ 6439974 w 6530564"/>
              <a:gd name="connsiteY2578" fmla="*/ 2924716 h 6858000"/>
              <a:gd name="connsiteX2579" fmla="*/ 6440971 w 6530564"/>
              <a:gd name="connsiteY2579" fmla="*/ 2929388 h 6858000"/>
              <a:gd name="connsiteX2580" fmla="*/ 6446641 w 6530564"/>
              <a:gd name="connsiteY2580" fmla="*/ 2933062 h 6858000"/>
              <a:gd name="connsiteX2581" fmla="*/ 6447639 w 6530564"/>
              <a:gd name="connsiteY2581" fmla="*/ 2937733 h 6858000"/>
              <a:gd name="connsiteX2582" fmla="*/ 6448636 w 6530564"/>
              <a:gd name="connsiteY2582" fmla="*/ 2942403 h 6858000"/>
              <a:gd name="connsiteX2583" fmla="*/ 6457299 w 6530564"/>
              <a:gd name="connsiteY2583" fmla="*/ 2960089 h 6858000"/>
              <a:gd name="connsiteX2584" fmla="*/ 6462289 w 6530564"/>
              <a:gd name="connsiteY2584" fmla="*/ 2983446 h 6858000"/>
              <a:gd name="connsiteX2585" fmla="*/ 6458617 w 6530564"/>
              <a:gd name="connsiteY2585" fmla="*/ 2989113 h 6858000"/>
              <a:gd name="connsiteX2586" fmla="*/ 6452947 w 6530564"/>
              <a:gd name="connsiteY2586" fmla="*/ 2985442 h 6858000"/>
              <a:gd name="connsiteX2587" fmla="*/ 6436301 w 6530564"/>
              <a:gd name="connsiteY2587" fmla="*/ 2930386 h 6858000"/>
              <a:gd name="connsiteX2588" fmla="*/ 6435303 w 6530564"/>
              <a:gd name="connsiteY2588" fmla="*/ 2925715 h 6858000"/>
              <a:gd name="connsiteX2589" fmla="*/ 6431630 w 6530564"/>
              <a:gd name="connsiteY2589" fmla="*/ 2931384 h 6858000"/>
              <a:gd name="connsiteX2590" fmla="*/ 6448275 w 6530564"/>
              <a:gd name="connsiteY2590" fmla="*/ 2986439 h 6858000"/>
              <a:gd name="connsiteX2591" fmla="*/ 6436259 w 6530564"/>
              <a:gd name="connsiteY2591" fmla="*/ 2998774 h 6858000"/>
              <a:gd name="connsiteX2592" fmla="*/ 6437895 w 6530564"/>
              <a:gd name="connsiteY2592" fmla="*/ 3052152 h 6858000"/>
              <a:gd name="connsiteX2593" fmla="*/ 6440443 w 6530564"/>
              <a:gd name="connsiteY2593" fmla="*/ 3246975 h 6858000"/>
              <a:gd name="connsiteX2594" fmla="*/ 6441441 w 6530564"/>
              <a:gd name="connsiteY2594" fmla="*/ 3251646 h 6858000"/>
              <a:gd name="connsiteX2595" fmla="*/ 6442439 w 6530564"/>
              <a:gd name="connsiteY2595" fmla="*/ 3256318 h 6858000"/>
              <a:gd name="connsiteX2596" fmla="*/ 6446113 w 6530564"/>
              <a:gd name="connsiteY2596" fmla="*/ 3250648 h 6858000"/>
              <a:gd name="connsiteX2597" fmla="*/ 6444561 w 6530564"/>
              <a:gd name="connsiteY2597" fmla="*/ 3060496 h 6858000"/>
              <a:gd name="connsiteX2598" fmla="*/ 6445559 w 6530564"/>
              <a:gd name="connsiteY2598" fmla="*/ 3065167 h 6858000"/>
              <a:gd name="connsiteX2599" fmla="*/ 6452905 w 6530564"/>
              <a:gd name="connsiteY2599" fmla="*/ 3053828 h 6858000"/>
              <a:gd name="connsiteX2600" fmla="*/ 6455899 w 6530564"/>
              <a:gd name="connsiteY2600" fmla="*/ 3067841 h 6858000"/>
              <a:gd name="connsiteX2601" fmla="*/ 6451227 w 6530564"/>
              <a:gd name="connsiteY2601" fmla="*/ 3068840 h 6858000"/>
              <a:gd name="connsiteX2602" fmla="*/ 6452226 w 6530564"/>
              <a:gd name="connsiteY2602" fmla="*/ 3073511 h 6858000"/>
              <a:gd name="connsiteX2603" fmla="*/ 6453223 w 6530564"/>
              <a:gd name="connsiteY2603" fmla="*/ 3078181 h 6858000"/>
              <a:gd name="connsiteX2604" fmla="*/ 6457895 w 6530564"/>
              <a:gd name="connsiteY2604" fmla="*/ 3077183 h 6858000"/>
              <a:gd name="connsiteX2605" fmla="*/ 6458213 w 6530564"/>
              <a:gd name="connsiteY2605" fmla="*/ 3101536 h 6858000"/>
              <a:gd name="connsiteX2606" fmla="*/ 6460209 w 6530564"/>
              <a:gd name="connsiteY2606" fmla="*/ 3110879 h 6858000"/>
              <a:gd name="connsiteX2607" fmla="*/ 6463203 w 6530564"/>
              <a:gd name="connsiteY2607" fmla="*/ 3124891 h 6858000"/>
              <a:gd name="connsiteX2608" fmla="*/ 6464201 w 6530564"/>
              <a:gd name="connsiteY2608" fmla="*/ 3129561 h 6858000"/>
              <a:gd name="connsiteX2609" fmla="*/ 6460527 w 6530564"/>
              <a:gd name="connsiteY2609" fmla="*/ 3135231 h 6858000"/>
              <a:gd name="connsiteX2610" fmla="*/ 6462523 w 6530564"/>
              <a:gd name="connsiteY2610" fmla="*/ 3144574 h 6858000"/>
              <a:gd name="connsiteX2611" fmla="*/ 6468192 w 6530564"/>
              <a:gd name="connsiteY2611" fmla="*/ 3148246 h 6858000"/>
              <a:gd name="connsiteX2612" fmla="*/ 6492143 w 6530564"/>
              <a:gd name="connsiteY2612" fmla="*/ 3260351 h 6858000"/>
              <a:gd name="connsiteX2613" fmla="*/ 6493779 w 6530564"/>
              <a:gd name="connsiteY2613" fmla="*/ 3313728 h 6858000"/>
              <a:gd name="connsiteX2614" fmla="*/ 6497452 w 6530564"/>
              <a:gd name="connsiteY2614" fmla="*/ 3308059 h 6858000"/>
              <a:gd name="connsiteX2615" fmla="*/ 6508067 w 6530564"/>
              <a:gd name="connsiteY2615" fmla="*/ 3403475 h 6858000"/>
              <a:gd name="connsiteX2616" fmla="*/ 6513737 w 6530564"/>
              <a:gd name="connsiteY2616" fmla="*/ 3407147 h 6858000"/>
              <a:gd name="connsiteX2617" fmla="*/ 6514056 w 6530564"/>
              <a:gd name="connsiteY2617" fmla="*/ 3431501 h 6858000"/>
              <a:gd name="connsiteX2618" fmla="*/ 6510383 w 6530564"/>
              <a:gd name="connsiteY2618" fmla="*/ 3437170 h 6858000"/>
              <a:gd name="connsiteX2619" fmla="*/ 6517049 w 6530564"/>
              <a:gd name="connsiteY2619" fmla="*/ 3445513 h 6858000"/>
              <a:gd name="connsiteX2620" fmla="*/ 6518367 w 6530564"/>
              <a:gd name="connsiteY2620" fmla="*/ 3474537 h 6858000"/>
              <a:gd name="connsiteX2621" fmla="*/ 6519363 w 6530564"/>
              <a:gd name="connsiteY2621" fmla="*/ 3479209 h 6858000"/>
              <a:gd name="connsiteX2622" fmla="*/ 6517687 w 6530564"/>
              <a:gd name="connsiteY2622" fmla="*/ 3494220 h 6858000"/>
              <a:gd name="connsiteX2623" fmla="*/ 6518686 w 6530564"/>
              <a:gd name="connsiteY2623" fmla="*/ 3498890 h 6858000"/>
              <a:gd name="connsiteX2624" fmla="*/ 6519683 w 6530564"/>
              <a:gd name="connsiteY2624" fmla="*/ 3503561 h 6858000"/>
              <a:gd name="connsiteX2625" fmla="*/ 6517965 w 6530564"/>
              <a:gd name="connsiteY2625" fmla="*/ 3586960 h 6858000"/>
              <a:gd name="connsiteX2626" fmla="*/ 6520957 w 6530564"/>
              <a:gd name="connsiteY2626" fmla="*/ 3600973 h 6858000"/>
              <a:gd name="connsiteX2627" fmla="*/ 6521957 w 6530564"/>
              <a:gd name="connsiteY2627" fmla="*/ 3605644 h 6858000"/>
              <a:gd name="connsiteX2628" fmla="*/ 6525949 w 6530564"/>
              <a:gd name="connsiteY2628" fmla="*/ 3624328 h 6858000"/>
              <a:gd name="connsiteX2629" fmla="*/ 6518240 w 6530564"/>
              <a:gd name="connsiteY2629" fmla="*/ 3679702 h 6858000"/>
              <a:gd name="connsiteX2630" fmla="*/ 6499429 w 6530564"/>
              <a:gd name="connsiteY2630" fmla="*/ 3888856 h 6858000"/>
              <a:gd name="connsiteX2631" fmla="*/ 6500429 w 6530564"/>
              <a:gd name="connsiteY2631" fmla="*/ 3893529 h 6858000"/>
              <a:gd name="connsiteX2632" fmla="*/ 6496756 w 6530564"/>
              <a:gd name="connsiteY2632" fmla="*/ 3899196 h 6858000"/>
              <a:gd name="connsiteX2633" fmla="*/ 6474945 w 6530564"/>
              <a:gd name="connsiteY2633" fmla="*/ 3968571 h 6858000"/>
              <a:gd name="connsiteX2634" fmla="*/ 6456817 w 6530564"/>
              <a:gd name="connsiteY2634" fmla="*/ 4036740 h 6858000"/>
              <a:gd name="connsiteX2635" fmla="*/ 6457067 w 6530564"/>
              <a:gd name="connsiteY2635" fmla="*/ 4035275 h 6858000"/>
              <a:gd name="connsiteX2636" fmla="*/ 6458983 w 6530564"/>
              <a:gd name="connsiteY2636" fmla="*/ 4019603 h 6858000"/>
              <a:gd name="connsiteX2637" fmla="*/ 6461660 w 6530564"/>
              <a:gd name="connsiteY2637" fmla="*/ 4009263 h 6858000"/>
              <a:gd name="connsiteX2638" fmla="*/ 6468688 w 6530564"/>
              <a:gd name="connsiteY2638" fmla="*/ 3973572 h 6858000"/>
              <a:gd name="connsiteX2639" fmla="*/ 6480067 w 6530564"/>
              <a:gd name="connsiteY2639" fmla="*/ 3912531 h 6858000"/>
              <a:gd name="connsiteX2640" fmla="*/ 6482742 w 6530564"/>
              <a:gd name="connsiteY2640" fmla="*/ 3902189 h 6858000"/>
              <a:gd name="connsiteX2641" fmla="*/ 6485417 w 6530564"/>
              <a:gd name="connsiteY2641" fmla="*/ 3891851 h 6858000"/>
              <a:gd name="connsiteX2642" fmla="*/ 6479749 w 6530564"/>
              <a:gd name="connsiteY2642" fmla="*/ 3888177 h 6858000"/>
              <a:gd name="connsiteX2643" fmla="*/ 6469727 w 6530564"/>
              <a:gd name="connsiteY2643" fmla="*/ 3909856 h 6858000"/>
              <a:gd name="connsiteX2644" fmla="*/ 6470724 w 6530564"/>
              <a:gd name="connsiteY2644" fmla="*/ 3914527 h 6858000"/>
              <a:gd name="connsiteX2645" fmla="*/ 6451319 w 6530564"/>
              <a:gd name="connsiteY2645" fmla="*/ 4006588 h 6858000"/>
              <a:gd name="connsiteX2646" fmla="*/ 6452317 w 6530564"/>
              <a:gd name="connsiteY2646" fmla="*/ 4011259 h 6858000"/>
              <a:gd name="connsiteX2647" fmla="*/ 6438623 w 6530564"/>
              <a:gd name="connsiteY2647" fmla="*/ 4038605 h 6858000"/>
              <a:gd name="connsiteX2648" fmla="*/ 6430597 w 6530564"/>
              <a:gd name="connsiteY2648" fmla="*/ 4069625 h 6858000"/>
              <a:gd name="connsiteX2649" fmla="*/ 6417467 w 6530564"/>
              <a:gd name="connsiteY2649" fmla="*/ 4131042 h 6858000"/>
              <a:gd name="connsiteX2650" fmla="*/ 6397652 w 6530564"/>
              <a:gd name="connsiteY2650" fmla="*/ 4184394 h 6858000"/>
              <a:gd name="connsiteX2651" fmla="*/ 6395501 w 6530564"/>
              <a:gd name="connsiteY2651" fmla="*/ 4179691 h 6858000"/>
              <a:gd name="connsiteX2652" fmla="*/ 6310617 w 6530564"/>
              <a:gd name="connsiteY2652" fmla="*/ 4422501 h 6858000"/>
              <a:gd name="connsiteX2653" fmla="*/ 6305947 w 6530564"/>
              <a:gd name="connsiteY2653" fmla="*/ 4423498 h 6858000"/>
              <a:gd name="connsiteX2654" fmla="*/ 6306945 w 6530564"/>
              <a:gd name="connsiteY2654" fmla="*/ 4428171 h 6858000"/>
              <a:gd name="connsiteX2655" fmla="*/ 6307942 w 6530564"/>
              <a:gd name="connsiteY2655" fmla="*/ 4432841 h 6858000"/>
              <a:gd name="connsiteX2656" fmla="*/ 6292252 w 6530564"/>
              <a:gd name="connsiteY2656" fmla="*/ 4450844 h 6858000"/>
              <a:gd name="connsiteX2657" fmla="*/ 6268855 w 6530564"/>
              <a:gd name="connsiteY2657" fmla="*/ 4524223 h 6858000"/>
              <a:gd name="connsiteX2658" fmla="*/ 6265862 w 6530564"/>
              <a:gd name="connsiteY2658" fmla="*/ 4510210 h 6858000"/>
              <a:gd name="connsiteX2659" fmla="*/ 6258833 w 6530564"/>
              <a:gd name="connsiteY2659" fmla="*/ 4545902 h 6858000"/>
              <a:gd name="connsiteX2660" fmla="*/ 6253165 w 6530564"/>
              <a:gd name="connsiteY2660" fmla="*/ 4542228 h 6858000"/>
              <a:gd name="connsiteX2661" fmla="*/ 6214077 w 6530564"/>
              <a:gd name="connsiteY2661" fmla="*/ 4633610 h 6858000"/>
              <a:gd name="connsiteX2662" fmla="*/ 6209407 w 6530564"/>
              <a:gd name="connsiteY2662" fmla="*/ 4634608 h 6858000"/>
              <a:gd name="connsiteX2663" fmla="*/ 6170001 w 6530564"/>
              <a:gd name="connsiteY2663" fmla="*/ 4701637 h 6858000"/>
              <a:gd name="connsiteX2664" fmla="*/ 6124246 w 6530564"/>
              <a:gd name="connsiteY2664" fmla="*/ 4784676 h 6858000"/>
              <a:gd name="connsiteX2665" fmla="*/ 6094991 w 6530564"/>
              <a:gd name="connsiteY2665" fmla="*/ 4822064 h 6858000"/>
              <a:gd name="connsiteX2666" fmla="*/ 6068122 w 6530564"/>
              <a:gd name="connsiteY2666" fmla="*/ 4864900 h 6858000"/>
              <a:gd name="connsiteX2667" fmla="*/ 6067155 w 6530564"/>
              <a:gd name="connsiteY2667" fmla="*/ 4860368 h 6858000"/>
              <a:gd name="connsiteX2668" fmla="*/ 6063481 w 6530564"/>
              <a:gd name="connsiteY2668" fmla="*/ 4866038 h 6858000"/>
              <a:gd name="connsiteX2669" fmla="*/ 6060805 w 6530564"/>
              <a:gd name="connsiteY2669" fmla="*/ 4876378 h 6858000"/>
              <a:gd name="connsiteX2670" fmla="*/ 6059807 w 6530564"/>
              <a:gd name="connsiteY2670" fmla="*/ 4871705 h 6858000"/>
              <a:gd name="connsiteX2671" fmla="*/ 6037769 w 6530564"/>
              <a:gd name="connsiteY2671" fmla="*/ 4905720 h 6858000"/>
              <a:gd name="connsiteX2672" fmla="*/ 6038767 w 6530564"/>
              <a:gd name="connsiteY2672" fmla="*/ 4910391 h 6858000"/>
              <a:gd name="connsiteX2673" fmla="*/ 6036091 w 6530564"/>
              <a:gd name="connsiteY2673" fmla="*/ 4920731 h 6858000"/>
              <a:gd name="connsiteX2674" fmla="*/ 6034095 w 6530564"/>
              <a:gd name="connsiteY2674" fmla="*/ 4911389 h 6858000"/>
              <a:gd name="connsiteX2675" fmla="*/ 6023077 w 6530564"/>
              <a:gd name="connsiteY2675" fmla="*/ 4928396 h 6858000"/>
              <a:gd name="connsiteX2676" fmla="*/ 6022078 w 6530564"/>
              <a:gd name="connsiteY2676" fmla="*/ 4923723 h 6858000"/>
              <a:gd name="connsiteX2677" fmla="*/ 6021081 w 6530564"/>
              <a:gd name="connsiteY2677" fmla="*/ 4919054 h 6858000"/>
              <a:gd name="connsiteX2678" fmla="*/ 6016409 w 6530564"/>
              <a:gd name="connsiteY2678" fmla="*/ 4920052 h 6858000"/>
              <a:gd name="connsiteX2679" fmla="*/ 6018405 w 6530564"/>
              <a:gd name="connsiteY2679" fmla="*/ 4929393 h 6858000"/>
              <a:gd name="connsiteX2680" fmla="*/ 6019404 w 6530564"/>
              <a:gd name="connsiteY2680" fmla="*/ 4934065 h 6858000"/>
              <a:gd name="connsiteX2681" fmla="*/ 6015730 w 6530564"/>
              <a:gd name="connsiteY2681" fmla="*/ 4939735 h 6858000"/>
              <a:gd name="connsiteX2682" fmla="*/ 6011059 w 6530564"/>
              <a:gd name="connsiteY2682" fmla="*/ 4940732 h 6858000"/>
              <a:gd name="connsiteX2683" fmla="*/ 6006389 w 6530564"/>
              <a:gd name="connsiteY2683" fmla="*/ 4941731 h 6858000"/>
              <a:gd name="connsiteX2684" fmla="*/ 6007386 w 6530564"/>
              <a:gd name="connsiteY2684" fmla="*/ 4946401 h 6858000"/>
              <a:gd name="connsiteX2685" fmla="*/ 6008383 w 6530564"/>
              <a:gd name="connsiteY2685" fmla="*/ 4951071 h 6858000"/>
              <a:gd name="connsiteX2686" fmla="*/ 5996367 w 6530564"/>
              <a:gd name="connsiteY2686" fmla="*/ 4963407 h 6858000"/>
              <a:gd name="connsiteX2687" fmla="*/ 5995370 w 6530564"/>
              <a:gd name="connsiteY2687" fmla="*/ 4958737 h 6858000"/>
              <a:gd name="connsiteX2688" fmla="*/ 5991696 w 6530564"/>
              <a:gd name="connsiteY2688" fmla="*/ 4964406 h 6858000"/>
              <a:gd name="connsiteX2689" fmla="*/ 5988022 w 6530564"/>
              <a:gd name="connsiteY2689" fmla="*/ 4970074 h 6858000"/>
              <a:gd name="connsiteX2690" fmla="*/ 5985347 w 6530564"/>
              <a:gd name="connsiteY2690" fmla="*/ 4980414 h 6858000"/>
              <a:gd name="connsiteX2691" fmla="*/ 5984349 w 6530564"/>
              <a:gd name="connsiteY2691" fmla="*/ 4975743 h 6858000"/>
              <a:gd name="connsiteX2692" fmla="*/ 5967661 w 6530564"/>
              <a:gd name="connsiteY2692" fmla="*/ 4989076 h 6858000"/>
              <a:gd name="connsiteX2693" fmla="*/ 5965665 w 6530564"/>
              <a:gd name="connsiteY2693" fmla="*/ 4979735 h 6858000"/>
              <a:gd name="connsiteX2694" fmla="*/ 5949975 w 6530564"/>
              <a:gd name="connsiteY2694" fmla="*/ 4997740 h 6858000"/>
              <a:gd name="connsiteX2695" fmla="*/ 5948977 w 6530564"/>
              <a:gd name="connsiteY2695" fmla="*/ 4993069 h 6858000"/>
              <a:gd name="connsiteX2696" fmla="*/ 5952650 w 6530564"/>
              <a:gd name="connsiteY2696" fmla="*/ 4987400 h 6858000"/>
              <a:gd name="connsiteX2697" fmla="*/ 5951653 w 6530564"/>
              <a:gd name="connsiteY2697" fmla="*/ 4982729 h 6858000"/>
              <a:gd name="connsiteX2698" fmla="*/ 5947981 w 6530564"/>
              <a:gd name="connsiteY2698" fmla="*/ 4988397 h 6858000"/>
              <a:gd name="connsiteX2699" fmla="*/ 5944307 w 6530564"/>
              <a:gd name="connsiteY2699" fmla="*/ 4994067 h 6858000"/>
              <a:gd name="connsiteX2700" fmla="*/ 5941631 w 6530564"/>
              <a:gd name="connsiteY2700" fmla="*/ 5004407 h 6858000"/>
              <a:gd name="connsiteX2701" fmla="*/ 5950973 w 6530564"/>
              <a:gd name="connsiteY2701" fmla="*/ 5002410 h 6858000"/>
              <a:gd name="connsiteX2702" fmla="*/ 5947299 w 6530564"/>
              <a:gd name="connsiteY2702" fmla="*/ 5008080 h 6858000"/>
              <a:gd name="connsiteX2703" fmla="*/ 5929931 w 6530564"/>
              <a:gd name="connsiteY2703" fmla="*/ 5041095 h 6858000"/>
              <a:gd name="connsiteX2704" fmla="*/ 5947618 w 6530564"/>
              <a:gd name="connsiteY2704" fmla="*/ 5032434 h 6858000"/>
              <a:gd name="connsiteX2705" fmla="*/ 5931927 w 6530564"/>
              <a:gd name="connsiteY2705" fmla="*/ 5050439 h 6858000"/>
              <a:gd name="connsiteX2706" fmla="*/ 5920909 w 6530564"/>
              <a:gd name="connsiteY2706" fmla="*/ 5067445 h 6858000"/>
              <a:gd name="connsiteX2707" fmla="*/ 5912565 w 6530564"/>
              <a:gd name="connsiteY2707" fmla="*/ 5074111 h 6858000"/>
              <a:gd name="connsiteX2708" fmla="*/ 5910570 w 6530564"/>
              <a:gd name="connsiteY2708" fmla="*/ 5064770 h 6858000"/>
              <a:gd name="connsiteX2709" fmla="*/ 5895877 w 6530564"/>
              <a:gd name="connsiteY2709" fmla="*/ 5087444 h 6858000"/>
              <a:gd name="connsiteX2710" fmla="*/ 5890208 w 6530564"/>
              <a:gd name="connsiteY2710" fmla="*/ 5083772 h 6858000"/>
              <a:gd name="connsiteX2711" fmla="*/ 5893881 w 6530564"/>
              <a:gd name="connsiteY2711" fmla="*/ 5078103 h 6858000"/>
              <a:gd name="connsiteX2712" fmla="*/ 5892882 w 6530564"/>
              <a:gd name="connsiteY2712" fmla="*/ 5073432 h 6858000"/>
              <a:gd name="connsiteX2713" fmla="*/ 5888211 w 6530564"/>
              <a:gd name="connsiteY2713" fmla="*/ 5074430 h 6858000"/>
              <a:gd name="connsiteX2714" fmla="*/ 5884539 w 6530564"/>
              <a:gd name="connsiteY2714" fmla="*/ 5080098 h 6858000"/>
              <a:gd name="connsiteX2715" fmla="*/ 5885537 w 6530564"/>
              <a:gd name="connsiteY2715" fmla="*/ 5084770 h 6858000"/>
              <a:gd name="connsiteX2716" fmla="*/ 5881863 w 6530564"/>
              <a:gd name="connsiteY2716" fmla="*/ 5090439 h 6858000"/>
              <a:gd name="connsiteX2717" fmla="*/ 5878191 w 6530564"/>
              <a:gd name="connsiteY2717" fmla="*/ 5096109 h 6858000"/>
              <a:gd name="connsiteX2718" fmla="*/ 5873519 w 6530564"/>
              <a:gd name="connsiteY2718" fmla="*/ 5097107 h 6858000"/>
              <a:gd name="connsiteX2719" fmla="*/ 5874517 w 6530564"/>
              <a:gd name="connsiteY2719" fmla="*/ 5101778 h 6858000"/>
              <a:gd name="connsiteX2720" fmla="*/ 5869847 w 6530564"/>
              <a:gd name="connsiteY2720" fmla="*/ 5102775 h 6858000"/>
              <a:gd name="connsiteX2721" fmla="*/ 5868847 w 6530564"/>
              <a:gd name="connsiteY2721" fmla="*/ 5098105 h 6858000"/>
              <a:gd name="connsiteX2722" fmla="*/ 5871523 w 6530564"/>
              <a:gd name="connsiteY2722" fmla="*/ 5087764 h 6858000"/>
              <a:gd name="connsiteX2723" fmla="*/ 5878869 w 6530564"/>
              <a:gd name="connsiteY2723" fmla="*/ 5076427 h 6858000"/>
              <a:gd name="connsiteX2724" fmla="*/ 5874198 w 6530564"/>
              <a:gd name="connsiteY2724" fmla="*/ 5077424 h 6858000"/>
              <a:gd name="connsiteX2725" fmla="*/ 5870525 w 6530564"/>
              <a:gd name="connsiteY2725" fmla="*/ 5083093 h 6858000"/>
              <a:gd name="connsiteX2726" fmla="*/ 5859507 w 6530564"/>
              <a:gd name="connsiteY2726" fmla="*/ 5100100 h 6858000"/>
              <a:gd name="connsiteX2727" fmla="*/ 5860503 w 6530564"/>
              <a:gd name="connsiteY2727" fmla="*/ 5104770 h 6858000"/>
              <a:gd name="connsiteX2728" fmla="*/ 5854156 w 6530564"/>
              <a:gd name="connsiteY2728" fmla="*/ 5120780 h 6858000"/>
              <a:gd name="connsiteX2729" fmla="*/ 5803411 w 6530564"/>
              <a:gd name="connsiteY2729" fmla="*/ 5180463 h 6858000"/>
              <a:gd name="connsiteX2730" fmla="*/ 5798741 w 6530564"/>
              <a:gd name="connsiteY2730" fmla="*/ 5181460 h 6858000"/>
              <a:gd name="connsiteX2731" fmla="*/ 5795068 w 6530564"/>
              <a:gd name="connsiteY2731" fmla="*/ 5187130 h 6858000"/>
              <a:gd name="connsiteX2732" fmla="*/ 5783051 w 6530564"/>
              <a:gd name="connsiteY2732" fmla="*/ 5199465 h 6858000"/>
              <a:gd name="connsiteX2733" fmla="*/ 5779378 w 6530564"/>
              <a:gd name="connsiteY2733" fmla="*/ 5205135 h 6858000"/>
              <a:gd name="connsiteX2734" fmla="*/ 5767360 w 6530564"/>
              <a:gd name="connsiteY2734" fmla="*/ 5217470 h 6858000"/>
              <a:gd name="connsiteX2735" fmla="*/ 5755343 w 6530564"/>
              <a:gd name="connsiteY2735" fmla="*/ 5229806 h 6858000"/>
              <a:gd name="connsiteX2736" fmla="*/ 5718293 w 6530564"/>
              <a:gd name="connsiteY2736" fmla="*/ 5262142 h 6858000"/>
              <a:gd name="connsiteX2737" fmla="*/ 5680564 w 6530564"/>
              <a:gd name="connsiteY2737" fmla="*/ 5314161 h 6858000"/>
              <a:gd name="connsiteX2738" fmla="*/ 5668546 w 6530564"/>
              <a:gd name="connsiteY2738" fmla="*/ 5326497 h 6858000"/>
              <a:gd name="connsiteX2739" fmla="*/ 5679885 w 6530564"/>
              <a:gd name="connsiteY2739" fmla="*/ 5333842 h 6858000"/>
              <a:gd name="connsiteX2740" fmla="*/ 5712263 w 6530564"/>
              <a:gd name="connsiteY2740" fmla="*/ 5302506 h 6858000"/>
              <a:gd name="connsiteX2741" fmla="*/ 5746319 w 6530564"/>
              <a:gd name="connsiteY2741" fmla="*/ 5256155 h 6858000"/>
              <a:gd name="connsiteX2742" fmla="*/ 5762009 w 6530564"/>
              <a:gd name="connsiteY2742" fmla="*/ 5238151 h 6858000"/>
              <a:gd name="connsiteX2743" fmla="*/ 5763007 w 6530564"/>
              <a:gd name="connsiteY2743" fmla="*/ 5242821 h 6858000"/>
              <a:gd name="connsiteX2744" fmla="*/ 5758337 w 6530564"/>
              <a:gd name="connsiteY2744" fmla="*/ 5243820 h 6858000"/>
              <a:gd name="connsiteX2745" fmla="*/ 5759335 w 6530564"/>
              <a:gd name="connsiteY2745" fmla="*/ 5248491 h 6858000"/>
              <a:gd name="connsiteX2746" fmla="*/ 5764005 w 6530564"/>
              <a:gd name="connsiteY2746" fmla="*/ 5247493 h 6858000"/>
              <a:gd name="connsiteX2747" fmla="*/ 5767679 w 6530564"/>
              <a:gd name="connsiteY2747" fmla="*/ 5241824 h 6858000"/>
              <a:gd name="connsiteX2748" fmla="*/ 5764685 w 6530564"/>
              <a:gd name="connsiteY2748" fmla="*/ 5227811 h 6858000"/>
              <a:gd name="connsiteX2749" fmla="*/ 5776701 w 6530564"/>
              <a:gd name="connsiteY2749" fmla="*/ 5215474 h 6858000"/>
              <a:gd name="connsiteX2750" fmla="*/ 5786044 w 6530564"/>
              <a:gd name="connsiteY2750" fmla="*/ 5213479 h 6858000"/>
              <a:gd name="connsiteX2751" fmla="*/ 5787043 w 6530564"/>
              <a:gd name="connsiteY2751" fmla="*/ 5218150 h 6858000"/>
              <a:gd name="connsiteX2752" fmla="*/ 5790713 w 6530564"/>
              <a:gd name="connsiteY2752" fmla="*/ 5212480 h 6858000"/>
              <a:gd name="connsiteX2753" fmla="*/ 5789717 w 6530564"/>
              <a:gd name="connsiteY2753" fmla="*/ 5207810 h 6858000"/>
              <a:gd name="connsiteX2754" fmla="*/ 5792393 w 6530564"/>
              <a:gd name="connsiteY2754" fmla="*/ 5197469 h 6858000"/>
              <a:gd name="connsiteX2755" fmla="*/ 5800735 w 6530564"/>
              <a:gd name="connsiteY2755" fmla="*/ 5190803 h 6858000"/>
              <a:gd name="connsiteX2756" fmla="*/ 5805408 w 6530564"/>
              <a:gd name="connsiteY2756" fmla="*/ 5189806 h 6858000"/>
              <a:gd name="connsiteX2757" fmla="*/ 5804409 w 6530564"/>
              <a:gd name="connsiteY2757" fmla="*/ 5185134 h 6858000"/>
              <a:gd name="connsiteX2758" fmla="*/ 5808082 w 6530564"/>
              <a:gd name="connsiteY2758" fmla="*/ 5179466 h 6858000"/>
              <a:gd name="connsiteX2759" fmla="*/ 5859825 w 6530564"/>
              <a:gd name="connsiteY2759" fmla="*/ 5124453 h 6858000"/>
              <a:gd name="connsiteX2760" fmla="*/ 5863499 w 6530564"/>
              <a:gd name="connsiteY2760" fmla="*/ 5118782 h 6858000"/>
              <a:gd name="connsiteX2761" fmla="*/ 5862500 w 6530564"/>
              <a:gd name="connsiteY2761" fmla="*/ 5114113 h 6858000"/>
              <a:gd name="connsiteX2762" fmla="*/ 5867171 w 6530564"/>
              <a:gd name="connsiteY2762" fmla="*/ 5113115 h 6858000"/>
              <a:gd name="connsiteX2763" fmla="*/ 5868169 w 6530564"/>
              <a:gd name="connsiteY2763" fmla="*/ 5117785 h 6858000"/>
              <a:gd name="connsiteX2764" fmla="*/ 5889529 w 6530564"/>
              <a:gd name="connsiteY2764" fmla="*/ 5103454 h 6858000"/>
              <a:gd name="connsiteX2765" fmla="*/ 5888531 w 6530564"/>
              <a:gd name="connsiteY2765" fmla="*/ 5098783 h 6858000"/>
              <a:gd name="connsiteX2766" fmla="*/ 5886853 w 6530564"/>
              <a:gd name="connsiteY2766" fmla="*/ 5113794 h 6858000"/>
              <a:gd name="connsiteX2767" fmla="*/ 5918235 w 6530564"/>
              <a:gd name="connsiteY2767" fmla="*/ 5077785 h 6858000"/>
              <a:gd name="connsiteX2768" fmla="*/ 5937596 w 6530564"/>
              <a:gd name="connsiteY2768" fmla="*/ 5054110 h 6858000"/>
              <a:gd name="connsiteX2769" fmla="*/ 5956961 w 6530564"/>
              <a:gd name="connsiteY2769" fmla="*/ 5030438 h 6858000"/>
              <a:gd name="connsiteX2770" fmla="*/ 5991015 w 6530564"/>
              <a:gd name="connsiteY2770" fmla="*/ 4984087 h 6858000"/>
              <a:gd name="connsiteX2771" fmla="*/ 6003035 w 6530564"/>
              <a:gd name="connsiteY2771" fmla="*/ 4971752 h 6858000"/>
              <a:gd name="connsiteX2772" fmla="*/ 6010379 w 6530564"/>
              <a:gd name="connsiteY2772" fmla="*/ 4960413 h 6858000"/>
              <a:gd name="connsiteX2773" fmla="*/ 6018723 w 6530564"/>
              <a:gd name="connsiteY2773" fmla="*/ 4953747 h 6858000"/>
              <a:gd name="connsiteX2774" fmla="*/ 6029744 w 6530564"/>
              <a:gd name="connsiteY2774" fmla="*/ 4936740 h 6858000"/>
              <a:gd name="connsiteX2775" fmla="*/ 6041761 w 6530564"/>
              <a:gd name="connsiteY2775" fmla="*/ 4924404 h 6858000"/>
              <a:gd name="connsiteX2776" fmla="*/ 6048109 w 6530564"/>
              <a:gd name="connsiteY2776" fmla="*/ 4908395 h 6858000"/>
              <a:gd name="connsiteX2777" fmla="*/ 6052779 w 6530564"/>
              <a:gd name="connsiteY2777" fmla="*/ 4907398 h 6858000"/>
              <a:gd name="connsiteX2778" fmla="*/ 6166964 w 6530564"/>
              <a:gd name="connsiteY2778" fmla="*/ 4756012 h 6858000"/>
              <a:gd name="connsiteX2779" fmla="*/ 6171634 w 6530564"/>
              <a:gd name="connsiteY2779" fmla="*/ 4755014 h 6858000"/>
              <a:gd name="connsiteX2780" fmla="*/ 6176307 w 6530564"/>
              <a:gd name="connsiteY2780" fmla="*/ 4754017 h 6858000"/>
              <a:gd name="connsiteX2781" fmla="*/ 6168961 w 6530564"/>
              <a:gd name="connsiteY2781" fmla="*/ 4765354 h 6858000"/>
              <a:gd name="connsiteX2782" fmla="*/ 6161614 w 6530564"/>
              <a:gd name="connsiteY2782" fmla="*/ 4776693 h 6858000"/>
              <a:gd name="connsiteX2783" fmla="*/ 6154269 w 6530564"/>
              <a:gd name="connsiteY2783" fmla="*/ 4788031 h 6858000"/>
              <a:gd name="connsiteX2784" fmla="*/ 6155266 w 6530564"/>
              <a:gd name="connsiteY2784" fmla="*/ 4792702 h 6858000"/>
              <a:gd name="connsiteX2785" fmla="*/ 6136901 w 6530564"/>
              <a:gd name="connsiteY2785" fmla="*/ 4821047 h 6858000"/>
              <a:gd name="connsiteX2786" fmla="*/ 6137897 w 6530564"/>
              <a:gd name="connsiteY2786" fmla="*/ 4825717 h 6858000"/>
              <a:gd name="connsiteX2787" fmla="*/ 6142571 w 6530564"/>
              <a:gd name="connsiteY2787" fmla="*/ 4824719 h 6858000"/>
              <a:gd name="connsiteX2788" fmla="*/ 6146243 w 6530564"/>
              <a:gd name="connsiteY2788" fmla="*/ 4819049 h 6858000"/>
              <a:gd name="connsiteX2789" fmla="*/ 6149915 w 6530564"/>
              <a:gd name="connsiteY2789" fmla="*/ 4813382 h 6858000"/>
              <a:gd name="connsiteX2790" fmla="*/ 6153588 w 6530564"/>
              <a:gd name="connsiteY2790" fmla="*/ 4807712 h 6858000"/>
              <a:gd name="connsiteX2791" fmla="*/ 6160935 w 6530564"/>
              <a:gd name="connsiteY2791" fmla="*/ 4796376 h 6858000"/>
              <a:gd name="connsiteX2792" fmla="*/ 6149207 w 6530564"/>
              <a:gd name="connsiteY2792" fmla="*/ 4815058 h 6858000"/>
              <a:gd name="connsiteX2793" fmla="*/ 6138972 w 6530564"/>
              <a:gd name="connsiteY2793" fmla="*/ 4830325 h 6858000"/>
              <a:gd name="connsiteX2794" fmla="*/ 6138897 w 6530564"/>
              <a:gd name="connsiteY2794" fmla="*/ 4830389 h 6858000"/>
              <a:gd name="connsiteX2795" fmla="*/ 6138892 w 6530564"/>
              <a:gd name="connsiteY2795" fmla="*/ 4830440 h 6858000"/>
              <a:gd name="connsiteX2796" fmla="*/ 6137977 w 6530564"/>
              <a:gd name="connsiteY2796" fmla="*/ 4831806 h 6858000"/>
              <a:gd name="connsiteX2797" fmla="*/ 6128557 w 6530564"/>
              <a:gd name="connsiteY2797" fmla="*/ 4827713 h 6858000"/>
              <a:gd name="connsiteX2798" fmla="*/ 6092823 w 6530564"/>
              <a:gd name="connsiteY2798" fmla="*/ 4889075 h 6858000"/>
              <a:gd name="connsiteX2799" fmla="*/ 6097494 w 6530564"/>
              <a:gd name="connsiteY2799" fmla="*/ 4888076 h 6858000"/>
              <a:gd name="connsiteX2800" fmla="*/ 6086475 w 6530564"/>
              <a:gd name="connsiteY2800" fmla="*/ 4905082 h 6858000"/>
              <a:gd name="connsiteX2801" fmla="*/ 6081803 w 6530564"/>
              <a:gd name="connsiteY2801" fmla="*/ 4906081 h 6858000"/>
              <a:gd name="connsiteX2802" fmla="*/ 6082802 w 6530564"/>
              <a:gd name="connsiteY2802" fmla="*/ 4910751 h 6858000"/>
              <a:gd name="connsiteX2803" fmla="*/ 6078133 w 6530564"/>
              <a:gd name="connsiteY2803" fmla="*/ 4911750 h 6858000"/>
              <a:gd name="connsiteX2804" fmla="*/ 6070785 w 6530564"/>
              <a:gd name="connsiteY2804" fmla="*/ 4923087 h 6858000"/>
              <a:gd name="connsiteX2805" fmla="*/ 6068109 w 6530564"/>
              <a:gd name="connsiteY2805" fmla="*/ 4933427 h 6858000"/>
              <a:gd name="connsiteX2806" fmla="*/ 6064437 w 6530564"/>
              <a:gd name="connsiteY2806" fmla="*/ 4939097 h 6858000"/>
              <a:gd name="connsiteX2807" fmla="*/ 6053416 w 6530564"/>
              <a:gd name="connsiteY2807" fmla="*/ 4956103 h 6858000"/>
              <a:gd name="connsiteX2808" fmla="*/ 6054415 w 6530564"/>
              <a:gd name="connsiteY2808" fmla="*/ 4960774 h 6858000"/>
              <a:gd name="connsiteX2809" fmla="*/ 6050743 w 6530564"/>
              <a:gd name="connsiteY2809" fmla="*/ 4966443 h 6858000"/>
              <a:gd name="connsiteX2810" fmla="*/ 6016685 w 6530564"/>
              <a:gd name="connsiteY2810" fmla="*/ 5012793 h 6858000"/>
              <a:gd name="connsiteX2811" fmla="*/ 6011017 w 6530564"/>
              <a:gd name="connsiteY2811" fmla="*/ 5009120 h 6858000"/>
              <a:gd name="connsiteX2812" fmla="*/ 6014690 w 6530564"/>
              <a:gd name="connsiteY2812" fmla="*/ 5003451 h 6858000"/>
              <a:gd name="connsiteX2813" fmla="*/ 6018363 w 6530564"/>
              <a:gd name="connsiteY2813" fmla="*/ 4997783 h 6858000"/>
              <a:gd name="connsiteX2814" fmla="*/ 6013693 w 6530564"/>
              <a:gd name="connsiteY2814" fmla="*/ 4998780 h 6858000"/>
              <a:gd name="connsiteX2815" fmla="*/ 6010020 w 6530564"/>
              <a:gd name="connsiteY2815" fmla="*/ 5004450 h 6858000"/>
              <a:gd name="connsiteX2816" fmla="*/ 6006346 w 6530564"/>
              <a:gd name="connsiteY2816" fmla="*/ 5010117 h 6858000"/>
              <a:gd name="connsiteX2817" fmla="*/ 6007345 w 6530564"/>
              <a:gd name="connsiteY2817" fmla="*/ 5014789 h 6858000"/>
              <a:gd name="connsiteX2818" fmla="*/ 6008343 w 6530564"/>
              <a:gd name="connsiteY2818" fmla="*/ 5019460 h 6858000"/>
              <a:gd name="connsiteX2819" fmla="*/ 5973287 w 6530564"/>
              <a:gd name="connsiteY2819" fmla="*/ 5061138 h 6858000"/>
              <a:gd name="connsiteX2820" fmla="*/ 5974287 w 6530564"/>
              <a:gd name="connsiteY2820" fmla="*/ 5065808 h 6858000"/>
              <a:gd name="connsiteX2821" fmla="*/ 5894837 w 6530564"/>
              <a:gd name="connsiteY2821" fmla="*/ 5151162 h 6858000"/>
              <a:gd name="connsiteX2822" fmla="*/ 5783008 w 6530564"/>
              <a:gd name="connsiteY2822" fmla="*/ 5267853 h 6858000"/>
              <a:gd name="connsiteX2823" fmla="*/ 5758973 w 6530564"/>
              <a:gd name="connsiteY2823" fmla="*/ 5292525 h 6858000"/>
              <a:gd name="connsiteX2824" fmla="*/ 5754302 w 6530564"/>
              <a:gd name="connsiteY2824" fmla="*/ 5293524 h 6858000"/>
              <a:gd name="connsiteX2825" fmla="*/ 5741289 w 6530564"/>
              <a:gd name="connsiteY2825" fmla="*/ 5301187 h 6858000"/>
              <a:gd name="connsiteX2826" fmla="*/ 5737613 w 6530564"/>
              <a:gd name="connsiteY2826" fmla="*/ 5306857 h 6858000"/>
              <a:gd name="connsiteX2827" fmla="*/ 5742285 w 6530564"/>
              <a:gd name="connsiteY2827" fmla="*/ 5305858 h 6858000"/>
              <a:gd name="connsiteX2828" fmla="*/ 5681201 w 6530564"/>
              <a:gd name="connsiteY2828" fmla="*/ 5362868 h 6858000"/>
              <a:gd name="connsiteX2829" fmla="*/ 5632136 w 6530564"/>
              <a:gd name="connsiteY2829" fmla="*/ 5407539 h 6858000"/>
              <a:gd name="connsiteX2830" fmla="*/ 5615447 w 6530564"/>
              <a:gd name="connsiteY2830" fmla="*/ 5420874 h 6858000"/>
              <a:gd name="connsiteX2831" fmla="*/ 5569055 w 6530564"/>
              <a:gd name="connsiteY2831" fmla="*/ 5455206 h 6858000"/>
              <a:gd name="connsiteX2832" fmla="*/ 5536677 w 6530564"/>
              <a:gd name="connsiteY2832" fmla="*/ 5486546 h 6858000"/>
              <a:gd name="connsiteX2833" fmla="*/ 5347435 w 6530564"/>
              <a:gd name="connsiteY2833" fmla="*/ 5629544 h 6858000"/>
              <a:gd name="connsiteX2834" fmla="*/ 5192251 w 6530564"/>
              <a:gd name="connsiteY2834" fmla="*/ 5726192 h 6858000"/>
              <a:gd name="connsiteX2835" fmla="*/ 5029405 w 6530564"/>
              <a:gd name="connsiteY2835" fmla="*/ 5809826 h 6858000"/>
              <a:gd name="connsiteX2836" fmla="*/ 5011718 w 6530564"/>
              <a:gd name="connsiteY2836" fmla="*/ 5818489 h 6858000"/>
              <a:gd name="connsiteX2837" fmla="*/ 4685383 w 6530564"/>
              <a:gd name="connsiteY2837" fmla="*/ 5937051 h 6858000"/>
              <a:gd name="connsiteX2838" fmla="*/ 4514510 w 6530564"/>
              <a:gd name="connsiteY2838" fmla="*/ 5980274 h 6858000"/>
              <a:gd name="connsiteX2839" fmla="*/ 4434660 w 6530564"/>
              <a:gd name="connsiteY2839" fmla="*/ 5991919 h 6858000"/>
              <a:gd name="connsiteX2840" fmla="*/ 4450453 w 6530564"/>
              <a:gd name="connsiteY2840" fmla="*/ 5989074 h 6858000"/>
              <a:gd name="connsiteX2841" fmla="*/ 4493869 w 6530564"/>
              <a:gd name="connsiteY2841" fmla="*/ 5977967 h 6858000"/>
              <a:gd name="connsiteX2842" fmla="*/ 4498541 w 6530564"/>
              <a:gd name="connsiteY2842" fmla="*/ 5976969 h 6858000"/>
              <a:gd name="connsiteX2843" fmla="*/ 4637673 w 6530564"/>
              <a:gd name="connsiteY2843" fmla="*/ 5942359 h 6858000"/>
              <a:gd name="connsiteX2844" fmla="*/ 4642343 w 6530564"/>
              <a:gd name="connsiteY2844" fmla="*/ 5941362 h 6858000"/>
              <a:gd name="connsiteX2845" fmla="*/ 4646017 w 6530564"/>
              <a:gd name="connsiteY2845" fmla="*/ 5935692 h 6858000"/>
              <a:gd name="connsiteX2846" fmla="*/ 4636675 w 6530564"/>
              <a:gd name="connsiteY2846" fmla="*/ 5937688 h 6858000"/>
              <a:gd name="connsiteX2847" fmla="*/ 4637673 w 6530564"/>
              <a:gd name="connsiteY2847" fmla="*/ 5942359 h 6858000"/>
              <a:gd name="connsiteX2848" fmla="*/ 4497543 w 6530564"/>
              <a:gd name="connsiteY2848" fmla="*/ 5972298 h 6858000"/>
              <a:gd name="connsiteX2849" fmla="*/ 4490875 w 6530564"/>
              <a:gd name="connsiteY2849" fmla="*/ 5963954 h 6858000"/>
              <a:gd name="connsiteX2850" fmla="*/ 4486203 w 6530564"/>
              <a:gd name="connsiteY2850" fmla="*/ 5964951 h 6858000"/>
              <a:gd name="connsiteX2851" fmla="*/ 4487203 w 6530564"/>
              <a:gd name="connsiteY2851" fmla="*/ 5969623 h 6858000"/>
              <a:gd name="connsiteX2852" fmla="*/ 4389111 w 6530564"/>
              <a:gd name="connsiteY2852" fmla="*/ 5990578 h 6858000"/>
              <a:gd name="connsiteX2853" fmla="*/ 4390107 w 6530564"/>
              <a:gd name="connsiteY2853" fmla="*/ 5995251 h 6858000"/>
              <a:gd name="connsiteX2854" fmla="*/ 4370427 w 6530564"/>
              <a:gd name="connsiteY2854" fmla="*/ 5994571 h 6858000"/>
              <a:gd name="connsiteX2855" fmla="*/ 4361085 w 6530564"/>
              <a:gd name="connsiteY2855" fmla="*/ 5996567 h 6858000"/>
              <a:gd name="connsiteX2856" fmla="*/ 4361763 w 6530564"/>
              <a:gd name="connsiteY2856" fmla="*/ 5976885 h 6858000"/>
              <a:gd name="connsiteX2857" fmla="*/ 4380447 w 6530564"/>
              <a:gd name="connsiteY2857" fmla="*/ 5972893 h 6858000"/>
              <a:gd name="connsiteX2858" fmla="*/ 4408475 w 6530564"/>
              <a:gd name="connsiteY2858" fmla="*/ 5966906 h 6858000"/>
              <a:gd name="connsiteX2859" fmla="*/ 4413145 w 6530564"/>
              <a:gd name="connsiteY2859" fmla="*/ 5965908 h 6858000"/>
              <a:gd name="connsiteX2860" fmla="*/ 4417816 w 6530564"/>
              <a:gd name="connsiteY2860" fmla="*/ 5964910 h 6858000"/>
              <a:gd name="connsiteX2861" fmla="*/ 4427159 w 6530564"/>
              <a:gd name="connsiteY2861" fmla="*/ 5962914 h 6858000"/>
              <a:gd name="connsiteX2862" fmla="*/ 4431829 w 6530564"/>
              <a:gd name="connsiteY2862" fmla="*/ 5961917 h 6858000"/>
              <a:gd name="connsiteX2863" fmla="*/ 4426161 w 6530564"/>
              <a:gd name="connsiteY2863" fmla="*/ 5958243 h 6858000"/>
              <a:gd name="connsiteX2864" fmla="*/ 4416819 w 6530564"/>
              <a:gd name="connsiteY2864" fmla="*/ 5960239 h 6858000"/>
              <a:gd name="connsiteX2865" fmla="*/ 4412147 w 6530564"/>
              <a:gd name="connsiteY2865" fmla="*/ 5961238 h 6858000"/>
              <a:gd name="connsiteX2866" fmla="*/ 4411149 w 6530564"/>
              <a:gd name="connsiteY2866" fmla="*/ 5956566 h 6858000"/>
              <a:gd name="connsiteX2867" fmla="*/ 4406479 w 6530564"/>
              <a:gd name="connsiteY2867" fmla="*/ 5957564 h 6858000"/>
              <a:gd name="connsiteX2868" fmla="*/ 4401807 w 6530564"/>
              <a:gd name="connsiteY2868" fmla="*/ 5958561 h 6858000"/>
              <a:gd name="connsiteX2869" fmla="*/ 4402805 w 6530564"/>
              <a:gd name="connsiteY2869" fmla="*/ 5963232 h 6858000"/>
              <a:gd name="connsiteX2870" fmla="*/ 4379449 w 6530564"/>
              <a:gd name="connsiteY2870" fmla="*/ 5968223 h 6858000"/>
              <a:gd name="connsiteX2871" fmla="*/ 4360765 w 6530564"/>
              <a:gd name="connsiteY2871" fmla="*/ 5972214 h 6858000"/>
              <a:gd name="connsiteX2872" fmla="*/ 4332741 w 6530564"/>
              <a:gd name="connsiteY2872" fmla="*/ 5978202 h 6858000"/>
              <a:gd name="connsiteX2873" fmla="*/ 4328067 w 6530564"/>
              <a:gd name="connsiteY2873" fmla="*/ 5979200 h 6858000"/>
              <a:gd name="connsiteX2874" fmla="*/ 4333738 w 6530564"/>
              <a:gd name="connsiteY2874" fmla="*/ 5982874 h 6858000"/>
              <a:gd name="connsiteX2875" fmla="*/ 4352421 w 6530564"/>
              <a:gd name="connsiteY2875" fmla="*/ 5978882 h 6858000"/>
              <a:gd name="connsiteX2876" fmla="*/ 4347071 w 6530564"/>
              <a:gd name="connsiteY2876" fmla="*/ 5999562 h 6858000"/>
              <a:gd name="connsiteX2877" fmla="*/ 4337729 w 6530564"/>
              <a:gd name="connsiteY2877" fmla="*/ 6001556 h 6858000"/>
              <a:gd name="connsiteX2878" fmla="*/ 4333057 w 6530564"/>
              <a:gd name="connsiteY2878" fmla="*/ 6002555 h 6858000"/>
              <a:gd name="connsiteX2879" fmla="*/ 4336731 w 6530564"/>
              <a:gd name="connsiteY2879" fmla="*/ 5996886 h 6858000"/>
              <a:gd name="connsiteX2880" fmla="*/ 4331061 w 6530564"/>
              <a:gd name="connsiteY2880" fmla="*/ 5993214 h 6858000"/>
              <a:gd name="connsiteX2881" fmla="*/ 4322719 w 6530564"/>
              <a:gd name="connsiteY2881" fmla="*/ 5999880 h 6858000"/>
              <a:gd name="connsiteX2882" fmla="*/ 4318046 w 6530564"/>
              <a:gd name="connsiteY2882" fmla="*/ 6000879 h 6858000"/>
              <a:gd name="connsiteX2883" fmla="*/ 4298365 w 6530564"/>
              <a:gd name="connsiteY2883" fmla="*/ 6000199 h 6858000"/>
              <a:gd name="connsiteX2884" fmla="*/ 4287027 w 6530564"/>
              <a:gd name="connsiteY2884" fmla="*/ 5992853 h 6858000"/>
              <a:gd name="connsiteX2885" fmla="*/ 4253332 w 6530564"/>
              <a:gd name="connsiteY2885" fmla="*/ 5995167 h 6858000"/>
              <a:gd name="connsiteX2886" fmla="*/ 4250657 w 6530564"/>
              <a:gd name="connsiteY2886" fmla="*/ 6005506 h 6858000"/>
              <a:gd name="connsiteX2887" fmla="*/ 4243989 w 6530564"/>
              <a:gd name="connsiteY2887" fmla="*/ 5997163 h 6858000"/>
              <a:gd name="connsiteX2888" fmla="*/ 4216961 w 6530564"/>
              <a:gd name="connsiteY2888" fmla="*/ 6007822 h 6858000"/>
              <a:gd name="connsiteX2889" fmla="*/ 4183267 w 6530564"/>
              <a:gd name="connsiteY2889" fmla="*/ 6010136 h 6858000"/>
              <a:gd name="connsiteX2890" fmla="*/ 4178595 w 6530564"/>
              <a:gd name="connsiteY2890" fmla="*/ 6011135 h 6858000"/>
              <a:gd name="connsiteX2891" fmla="*/ 4162587 w 6530564"/>
              <a:gd name="connsiteY2891" fmla="*/ 6004786 h 6858000"/>
              <a:gd name="connsiteX2892" fmla="*/ 4126216 w 6530564"/>
              <a:gd name="connsiteY2892" fmla="*/ 6017440 h 6858000"/>
              <a:gd name="connsiteX2893" fmla="*/ 4086851 w 6530564"/>
              <a:gd name="connsiteY2893" fmla="*/ 6016083 h 6858000"/>
              <a:gd name="connsiteX2894" fmla="*/ 4067171 w 6530564"/>
              <a:gd name="connsiteY2894" fmla="*/ 6015403 h 6858000"/>
              <a:gd name="connsiteX2895" fmla="*/ 4040821 w 6530564"/>
              <a:gd name="connsiteY2895" fmla="*/ 6006380 h 6858000"/>
              <a:gd name="connsiteX2896" fmla="*/ 3944405 w 6530564"/>
              <a:gd name="connsiteY2896" fmla="*/ 6012325 h 6858000"/>
              <a:gd name="connsiteX2897" fmla="*/ 3925723 w 6530564"/>
              <a:gd name="connsiteY2897" fmla="*/ 6016317 h 6858000"/>
              <a:gd name="connsiteX2898" fmla="*/ 3911709 w 6530564"/>
              <a:gd name="connsiteY2898" fmla="*/ 6019311 h 6858000"/>
              <a:gd name="connsiteX2899" fmla="*/ 3784954 w 6530564"/>
              <a:gd name="connsiteY2899" fmla="*/ 5997550 h 6858000"/>
              <a:gd name="connsiteX2900" fmla="*/ 3731576 w 6530564"/>
              <a:gd name="connsiteY2900" fmla="*/ 5999185 h 6858000"/>
              <a:gd name="connsiteX2901" fmla="*/ 3701555 w 6530564"/>
              <a:gd name="connsiteY2901" fmla="*/ 5995831 h 6858000"/>
              <a:gd name="connsiteX2902" fmla="*/ 3706225 w 6530564"/>
              <a:gd name="connsiteY2902" fmla="*/ 5994832 h 6858000"/>
              <a:gd name="connsiteX2903" fmla="*/ 3591805 w 6530564"/>
              <a:gd name="connsiteY2903" fmla="*/ 5985087 h 6858000"/>
              <a:gd name="connsiteX2904" fmla="*/ 3573122 w 6530564"/>
              <a:gd name="connsiteY2904" fmla="*/ 5989079 h 6858000"/>
              <a:gd name="connsiteX2905" fmla="*/ 3537430 w 6530564"/>
              <a:gd name="connsiteY2905" fmla="*/ 5982053 h 6858000"/>
              <a:gd name="connsiteX2906" fmla="*/ 3541104 w 6530564"/>
              <a:gd name="connsiteY2906" fmla="*/ 5976384 h 6858000"/>
              <a:gd name="connsiteX2907" fmla="*/ 3465050 w 6530564"/>
              <a:gd name="connsiteY2907" fmla="*/ 5963328 h 6858000"/>
              <a:gd name="connsiteX2908" fmla="*/ 3430358 w 6530564"/>
              <a:gd name="connsiteY2908" fmla="*/ 5960971 h 6858000"/>
              <a:gd name="connsiteX2909" fmla="*/ 3439699 w 6530564"/>
              <a:gd name="connsiteY2909" fmla="*/ 5958974 h 6858000"/>
              <a:gd name="connsiteX2910" fmla="*/ 3363648 w 6530564"/>
              <a:gd name="connsiteY2910" fmla="*/ 5945918 h 6858000"/>
              <a:gd name="connsiteX2911" fmla="*/ 3280927 w 6530564"/>
              <a:gd name="connsiteY2911" fmla="*/ 5924516 h 6858000"/>
              <a:gd name="connsiteX2912" fmla="*/ 3275257 w 6530564"/>
              <a:gd name="connsiteY2912" fmla="*/ 5920844 h 6858000"/>
              <a:gd name="connsiteX2913" fmla="*/ 3261244 w 6530564"/>
              <a:gd name="connsiteY2913" fmla="*/ 5923839 h 6858000"/>
              <a:gd name="connsiteX2914" fmla="*/ 3215214 w 6530564"/>
              <a:gd name="connsiteY2914" fmla="*/ 5914135 h 6858000"/>
              <a:gd name="connsiteX2915" fmla="*/ 3201879 w 6530564"/>
              <a:gd name="connsiteY2915" fmla="*/ 5897447 h 6858000"/>
              <a:gd name="connsiteX2916" fmla="*/ 3172855 w 6530564"/>
              <a:gd name="connsiteY2916" fmla="*/ 5898763 h 6858000"/>
              <a:gd name="connsiteX2917" fmla="*/ 3171857 w 6530564"/>
              <a:gd name="connsiteY2917" fmla="*/ 5894093 h 6858000"/>
              <a:gd name="connsiteX2918" fmla="*/ 3099478 w 6530564"/>
              <a:gd name="connsiteY2918" fmla="*/ 5875367 h 6858000"/>
              <a:gd name="connsiteX2919" fmla="*/ 3119159 w 6530564"/>
              <a:gd name="connsiteY2919" fmla="*/ 5876046 h 6858000"/>
              <a:gd name="connsiteX2920" fmla="*/ 3059795 w 6530564"/>
              <a:gd name="connsiteY2920" fmla="*/ 5849654 h 6858000"/>
              <a:gd name="connsiteX2921" fmla="*/ 3056122 w 6530564"/>
              <a:gd name="connsiteY2921" fmla="*/ 5855324 h 6858000"/>
              <a:gd name="connsiteX2922" fmla="*/ 3039115 w 6530564"/>
              <a:gd name="connsiteY2922" fmla="*/ 5844305 h 6858000"/>
              <a:gd name="connsiteX2923" fmla="*/ 3003423 w 6530564"/>
              <a:gd name="connsiteY2923" fmla="*/ 5837278 h 6858000"/>
              <a:gd name="connsiteX2924" fmla="*/ 2986416 w 6530564"/>
              <a:gd name="connsiteY2924" fmla="*/ 5826258 h 6858000"/>
              <a:gd name="connsiteX2925" fmla="*/ 2981746 w 6530564"/>
              <a:gd name="connsiteY2925" fmla="*/ 5827257 h 6858000"/>
              <a:gd name="connsiteX2926" fmla="*/ 2993083 w 6530564"/>
              <a:gd name="connsiteY2926" fmla="*/ 5834603 h 6858000"/>
              <a:gd name="connsiteX2927" fmla="*/ 2953401 w 6530564"/>
              <a:gd name="connsiteY2927" fmla="*/ 5808891 h 6858000"/>
              <a:gd name="connsiteX2928" fmla="*/ 2937391 w 6530564"/>
              <a:gd name="connsiteY2928" fmla="*/ 5802543 h 6858000"/>
              <a:gd name="connsiteX2929" fmla="*/ 2940386 w 6530564"/>
              <a:gd name="connsiteY2929" fmla="*/ 5816557 h 6858000"/>
              <a:gd name="connsiteX2930" fmla="*/ 2935713 w 6530564"/>
              <a:gd name="connsiteY2930" fmla="*/ 5817555 h 6858000"/>
              <a:gd name="connsiteX2931" fmla="*/ 2902699 w 6530564"/>
              <a:gd name="connsiteY2931" fmla="*/ 5800186 h 6858000"/>
              <a:gd name="connsiteX2932" fmla="*/ 2901701 w 6530564"/>
              <a:gd name="connsiteY2932" fmla="*/ 5795516 h 6858000"/>
              <a:gd name="connsiteX2933" fmla="*/ 2912041 w 6530564"/>
              <a:gd name="connsiteY2933" fmla="*/ 5798190 h 6858000"/>
              <a:gd name="connsiteX2934" fmla="*/ 2917710 w 6530564"/>
              <a:gd name="connsiteY2934" fmla="*/ 5801864 h 6858000"/>
              <a:gd name="connsiteX2935" fmla="*/ 2916711 w 6530564"/>
              <a:gd name="connsiteY2935" fmla="*/ 5797193 h 6858000"/>
              <a:gd name="connsiteX2936" fmla="*/ 2900702 w 6530564"/>
              <a:gd name="connsiteY2936" fmla="*/ 5790845 h 6858000"/>
              <a:gd name="connsiteX2937" fmla="*/ 2878026 w 6530564"/>
              <a:gd name="connsiteY2937" fmla="*/ 5776152 h 6858000"/>
              <a:gd name="connsiteX2938" fmla="*/ 2830996 w 6530564"/>
              <a:gd name="connsiteY2938" fmla="*/ 5761779 h 6858000"/>
              <a:gd name="connsiteX2939" fmla="*/ 2802653 w 6530564"/>
              <a:gd name="connsiteY2939" fmla="*/ 5743413 h 6858000"/>
              <a:gd name="connsiteX2940" fmla="*/ 2796984 w 6530564"/>
              <a:gd name="connsiteY2940" fmla="*/ 5739740 h 6858000"/>
              <a:gd name="connsiteX2941" fmla="*/ 2792311 w 6530564"/>
              <a:gd name="connsiteY2941" fmla="*/ 5740738 h 6858000"/>
              <a:gd name="connsiteX2942" fmla="*/ 2707279 w 6530564"/>
              <a:gd name="connsiteY2942" fmla="*/ 5685642 h 6858000"/>
              <a:gd name="connsiteX2943" fmla="*/ 2676938 w 6530564"/>
              <a:gd name="connsiteY2943" fmla="*/ 5657935 h 6858000"/>
              <a:gd name="connsiteX2944" fmla="*/ 2520882 w 6530564"/>
              <a:gd name="connsiteY2944" fmla="*/ 5544750 h 6858000"/>
              <a:gd name="connsiteX2945" fmla="*/ 2389498 w 6530564"/>
              <a:gd name="connsiteY2945" fmla="*/ 5455598 h 6858000"/>
              <a:gd name="connsiteX2946" fmla="*/ 2399159 w 6530564"/>
              <a:gd name="connsiteY2946" fmla="*/ 5477954 h 6858000"/>
              <a:gd name="connsiteX2947" fmla="*/ 2364147 w 6530564"/>
              <a:gd name="connsiteY2947" fmla="*/ 5451245 h 6858000"/>
              <a:gd name="connsiteX2948" fmla="*/ 2347139 w 6530564"/>
              <a:gd name="connsiteY2948" fmla="*/ 5440226 h 6858000"/>
              <a:gd name="connsiteX2949" fmla="*/ 2345143 w 6530564"/>
              <a:gd name="connsiteY2949" fmla="*/ 5430885 h 6858000"/>
              <a:gd name="connsiteX2950" fmla="*/ 2340472 w 6530564"/>
              <a:gd name="connsiteY2950" fmla="*/ 5431882 h 6858000"/>
              <a:gd name="connsiteX2951" fmla="*/ 2322149 w 6530564"/>
              <a:gd name="connsiteY2951" fmla="*/ 5391840 h 6858000"/>
              <a:gd name="connsiteX2952" fmla="*/ 2315481 w 6530564"/>
              <a:gd name="connsiteY2952" fmla="*/ 5383495 h 6858000"/>
              <a:gd name="connsiteX2953" fmla="*/ 2309813 w 6530564"/>
              <a:gd name="connsiteY2953" fmla="*/ 5379823 h 6858000"/>
              <a:gd name="connsiteX2954" fmla="*/ 2304144 w 6530564"/>
              <a:gd name="connsiteY2954" fmla="*/ 5376149 h 6858000"/>
              <a:gd name="connsiteX2955" fmla="*/ 2280470 w 6530564"/>
              <a:gd name="connsiteY2955" fmla="*/ 5356786 h 6858000"/>
              <a:gd name="connsiteX2956" fmla="*/ 2274800 w 6530564"/>
              <a:gd name="connsiteY2956" fmla="*/ 5353113 h 6858000"/>
              <a:gd name="connsiteX2957" fmla="*/ 2275799 w 6530564"/>
              <a:gd name="connsiteY2957" fmla="*/ 5357784 h 6858000"/>
              <a:gd name="connsiteX2958" fmla="*/ 2282467 w 6530564"/>
              <a:gd name="connsiteY2958" fmla="*/ 5366128 h 6858000"/>
              <a:gd name="connsiteX2959" fmla="*/ 2258113 w 6530564"/>
              <a:gd name="connsiteY2959" fmla="*/ 5366446 h 6858000"/>
              <a:gd name="connsiteX2960" fmla="*/ 2257114 w 6530564"/>
              <a:gd name="connsiteY2960" fmla="*/ 5361775 h 6858000"/>
              <a:gd name="connsiteX2961" fmla="*/ 2230129 w 6530564"/>
              <a:gd name="connsiteY2961" fmla="*/ 5304046 h 6858000"/>
              <a:gd name="connsiteX2962" fmla="*/ 2224460 w 6530564"/>
              <a:gd name="connsiteY2962" fmla="*/ 5300373 h 6858000"/>
              <a:gd name="connsiteX2963" fmla="*/ 2223461 w 6530564"/>
              <a:gd name="connsiteY2963" fmla="*/ 5295703 h 6858000"/>
              <a:gd name="connsiteX2964" fmla="*/ 2184458 w 6530564"/>
              <a:gd name="connsiteY2964" fmla="*/ 5250308 h 6858000"/>
              <a:gd name="connsiteX2965" fmla="*/ 2156113 w 6530564"/>
              <a:gd name="connsiteY2965" fmla="*/ 5231944 h 6858000"/>
              <a:gd name="connsiteX2966" fmla="*/ 2155116 w 6530564"/>
              <a:gd name="connsiteY2966" fmla="*/ 5227273 h 6858000"/>
              <a:gd name="connsiteX2967" fmla="*/ 2150443 w 6530564"/>
              <a:gd name="connsiteY2967" fmla="*/ 5228270 h 6858000"/>
              <a:gd name="connsiteX2968" fmla="*/ 2139106 w 6530564"/>
              <a:gd name="connsiteY2968" fmla="*/ 5220925 h 6858000"/>
              <a:gd name="connsiteX2969" fmla="*/ 2140105 w 6530564"/>
              <a:gd name="connsiteY2969" fmla="*/ 5225596 h 6858000"/>
              <a:gd name="connsiteX2970" fmla="*/ 2146772 w 6530564"/>
              <a:gd name="connsiteY2970" fmla="*/ 5233939 h 6858000"/>
              <a:gd name="connsiteX2971" fmla="*/ 2129765 w 6530564"/>
              <a:gd name="connsiteY2971" fmla="*/ 5222920 h 6858000"/>
              <a:gd name="connsiteX2972" fmla="*/ 2109085 w 6530564"/>
              <a:gd name="connsiteY2972" fmla="*/ 5217571 h 6858000"/>
              <a:gd name="connsiteX2973" fmla="*/ 2093754 w 6530564"/>
              <a:gd name="connsiteY2973" fmla="*/ 5191540 h 6858000"/>
              <a:gd name="connsiteX2974" fmla="*/ 2098425 w 6530564"/>
              <a:gd name="connsiteY2974" fmla="*/ 5190542 h 6858000"/>
              <a:gd name="connsiteX2975" fmla="*/ 2097428 w 6530564"/>
              <a:gd name="connsiteY2975" fmla="*/ 5185872 h 6858000"/>
              <a:gd name="connsiteX2976" fmla="*/ 2091758 w 6530564"/>
              <a:gd name="connsiteY2976" fmla="*/ 5182198 h 6858000"/>
              <a:gd name="connsiteX2977" fmla="*/ 2084094 w 6530564"/>
              <a:gd name="connsiteY2977" fmla="*/ 5169184 h 6858000"/>
              <a:gd name="connsiteX2978" fmla="*/ 2078424 w 6530564"/>
              <a:gd name="connsiteY2978" fmla="*/ 5165510 h 6858000"/>
              <a:gd name="connsiteX2979" fmla="*/ 2074434 w 6530564"/>
              <a:gd name="connsiteY2979" fmla="*/ 5146826 h 6858000"/>
              <a:gd name="connsiteX2980" fmla="*/ 2093436 w 6530564"/>
              <a:gd name="connsiteY2980" fmla="*/ 5167188 h 6858000"/>
              <a:gd name="connsiteX2981" fmla="*/ 2090442 w 6530564"/>
              <a:gd name="connsiteY2981" fmla="*/ 5153174 h 6858000"/>
              <a:gd name="connsiteX2982" fmla="*/ 2078108 w 6530564"/>
              <a:gd name="connsiteY2982" fmla="*/ 5141157 h 6858000"/>
              <a:gd name="connsiteX2983" fmla="*/ 2013114 w 6530564"/>
              <a:gd name="connsiteY2983" fmla="*/ 5042706 h 6858000"/>
              <a:gd name="connsiteX2984" fmla="*/ 1971436 w 6530564"/>
              <a:gd name="connsiteY2984" fmla="*/ 5007652 h 6858000"/>
              <a:gd name="connsiteX2985" fmla="*/ 1975108 w 6530564"/>
              <a:gd name="connsiteY2985" fmla="*/ 5001984 h 6858000"/>
              <a:gd name="connsiteX2986" fmla="*/ 1968442 w 6530564"/>
              <a:gd name="connsiteY2986" fmla="*/ 4993638 h 6858000"/>
              <a:gd name="connsiteX2987" fmla="*/ 1962774 w 6530564"/>
              <a:gd name="connsiteY2987" fmla="*/ 4989966 h 6858000"/>
              <a:gd name="connsiteX2988" fmla="*/ 1963771 w 6530564"/>
              <a:gd name="connsiteY2988" fmla="*/ 4994637 h 6858000"/>
              <a:gd name="connsiteX2989" fmla="*/ 1951435 w 6530564"/>
              <a:gd name="connsiteY2989" fmla="*/ 4982619 h 6858000"/>
              <a:gd name="connsiteX2990" fmla="*/ 1955107 w 6530564"/>
              <a:gd name="connsiteY2990" fmla="*/ 4976952 h 6858000"/>
              <a:gd name="connsiteX2991" fmla="*/ 1923769 w 6530564"/>
              <a:gd name="connsiteY2991" fmla="*/ 4944572 h 6858000"/>
              <a:gd name="connsiteX2992" fmla="*/ 1922772 w 6530564"/>
              <a:gd name="connsiteY2992" fmla="*/ 4939901 h 6858000"/>
              <a:gd name="connsiteX2993" fmla="*/ 1918100 w 6530564"/>
              <a:gd name="connsiteY2993" fmla="*/ 4940898 h 6858000"/>
              <a:gd name="connsiteX2994" fmla="*/ 1913429 w 6530564"/>
              <a:gd name="connsiteY2994" fmla="*/ 4941897 h 6858000"/>
              <a:gd name="connsiteX2995" fmla="*/ 1912432 w 6530564"/>
              <a:gd name="connsiteY2995" fmla="*/ 4937227 h 6858000"/>
              <a:gd name="connsiteX2996" fmla="*/ 1902092 w 6530564"/>
              <a:gd name="connsiteY2996" fmla="*/ 4934551 h 6858000"/>
              <a:gd name="connsiteX2997" fmla="*/ 1904088 w 6530564"/>
              <a:gd name="connsiteY2997" fmla="*/ 4943893 h 6858000"/>
              <a:gd name="connsiteX2998" fmla="*/ 1898418 w 6530564"/>
              <a:gd name="connsiteY2998" fmla="*/ 4940221 h 6858000"/>
              <a:gd name="connsiteX2999" fmla="*/ 1873746 w 6530564"/>
              <a:gd name="connsiteY2999" fmla="*/ 4916186 h 6858000"/>
              <a:gd name="connsiteX3000" fmla="*/ 1855423 w 6530564"/>
              <a:gd name="connsiteY3000" fmla="*/ 4876142 h 6858000"/>
              <a:gd name="connsiteX3001" fmla="*/ 1845083 w 6530564"/>
              <a:gd name="connsiteY3001" fmla="*/ 4873468 h 6858000"/>
              <a:gd name="connsiteX3002" fmla="*/ 1840093 w 6530564"/>
              <a:gd name="connsiteY3002" fmla="*/ 4850113 h 6858000"/>
              <a:gd name="connsiteX3003" fmla="*/ 1831749 w 6530564"/>
              <a:gd name="connsiteY3003" fmla="*/ 4856779 h 6858000"/>
              <a:gd name="connsiteX3004" fmla="*/ 1828756 w 6530564"/>
              <a:gd name="connsiteY3004" fmla="*/ 4842767 h 6858000"/>
              <a:gd name="connsiteX3005" fmla="*/ 1767437 w 6530564"/>
              <a:gd name="connsiteY3005" fmla="*/ 4738646 h 6858000"/>
              <a:gd name="connsiteX3006" fmla="*/ 1759453 w 6530564"/>
              <a:gd name="connsiteY3006" fmla="*/ 4701279 h 6858000"/>
              <a:gd name="connsiteX3007" fmla="*/ 1748116 w 6530564"/>
              <a:gd name="connsiteY3007" fmla="*/ 4693932 h 6858000"/>
              <a:gd name="connsiteX3008" fmla="*/ 1730789 w 6530564"/>
              <a:gd name="connsiteY3008" fmla="*/ 4658560 h 6858000"/>
              <a:gd name="connsiteX3009" fmla="*/ 1720450 w 6530564"/>
              <a:gd name="connsiteY3009" fmla="*/ 4655885 h 6858000"/>
              <a:gd name="connsiteX3010" fmla="*/ 1724123 w 6530564"/>
              <a:gd name="connsiteY3010" fmla="*/ 4650215 h 6858000"/>
              <a:gd name="connsiteX3011" fmla="*/ 1694462 w 6530564"/>
              <a:gd name="connsiteY3011" fmla="*/ 4602826 h 6858000"/>
              <a:gd name="connsiteX3012" fmla="*/ 1686478 w 6530564"/>
              <a:gd name="connsiteY3012" fmla="*/ 4565458 h 6858000"/>
              <a:gd name="connsiteX3013" fmla="*/ 1667476 w 6530564"/>
              <a:gd name="connsiteY3013" fmla="*/ 4545098 h 6858000"/>
              <a:gd name="connsiteX3014" fmla="*/ 1666159 w 6530564"/>
              <a:gd name="connsiteY3014" fmla="*/ 4516074 h 6858000"/>
              <a:gd name="connsiteX3015" fmla="*/ 1643164 w 6530564"/>
              <a:gd name="connsiteY3015" fmla="*/ 4477028 h 6858000"/>
              <a:gd name="connsiteX3016" fmla="*/ 1647836 w 6530564"/>
              <a:gd name="connsiteY3016" fmla="*/ 4476029 h 6858000"/>
              <a:gd name="connsiteX3017" fmla="*/ 1625519 w 6530564"/>
              <a:gd name="connsiteY3017" fmla="*/ 4417302 h 6858000"/>
              <a:gd name="connsiteX3018" fmla="*/ 1636858 w 6530564"/>
              <a:gd name="connsiteY3018" fmla="*/ 4424649 h 6858000"/>
              <a:gd name="connsiteX3019" fmla="*/ 1643326 w 6530564"/>
              <a:gd name="connsiteY3019" fmla="*/ 4435630 h 6858000"/>
              <a:gd name="connsiteX3020" fmla="*/ 1642725 w 6530564"/>
              <a:gd name="connsiteY3020" fmla="*/ 4443543 h 6858000"/>
              <a:gd name="connsiteX3021" fmla="*/ 1636179 w 6530564"/>
              <a:gd name="connsiteY3021" fmla="*/ 4444330 h 6858000"/>
              <a:gd name="connsiteX3022" fmla="*/ 1649512 w 6530564"/>
              <a:gd name="connsiteY3022" fmla="*/ 4461018 h 6858000"/>
              <a:gd name="connsiteX3023" fmla="*/ 1665839 w 6530564"/>
              <a:gd name="connsiteY3023" fmla="*/ 4491720 h 6858000"/>
              <a:gd name="connsiteX3024" fmla="*/ 1666838 w 6530564"/>
              <a:gd name="connsiteY3024" fmla="*/ 4496392 h 6858000"/>
              <a:gd name="connsiteX3025" fmla="*/ 1667836 w 6530564"/>
              <a:gd name="connsiteY3025" fmla="*/ 4501062 h 6858000"/>
              <a:gd name="connsiteX3026" fmla="*/ 1672506 w 6530564"/>
              <a:gd name="connsiteY3026" fmla="*/ 4500064 h 6858000"/>
              <a:gd name="connsiteX3027" fmla="*/ 1672188 w 6530564"/>
              <a:gd name="connsiteY3027" fmla="*/ 4475711 h 6858000"/>
              <a:gd name="connsiteX3028" fmla="*/ 1666519 w 6530564"/>
              <a:gd name="connsiteY3028" fmla="*/ 4472037 h 6858000"/>
              <a:gd name="connsiteX3029" fmla="*/ 1665521 w 6530564"/>
              <a:gd name="connsiteY3029" fmla="*/ 4467367 h 6858000"/>
              <a:gd name="connsiteX3030" fmla="*/ 1659852 w 6530564"/>
              <a:gd name="connsiteY3030" fmla="*/ 4463695 h 6858000"/>
              <a:gd name="connsiteX3031" fmla="*/ 1652866 w 6530564"/>
              <a:gd name="connsiteY3031" fmla="*/ 4430997 h 6858000"/>
              <a:gd name="connsiteX3032" fmla="*/ 1664883 w 6530564"/>
              <a:gd name="connsiteY3032" fmla="*/ 4418662 h 6858000"/>
              <a:gd name="connsiteX3033" fmla="*/ 1653906 w 6530564"/>
              <a:gd name="connsiteY3033" fmla="*/ 4367280 h 6858000"/>
              <a:gd name="connsiteX3034" fmla="*/ 1626006 w 6530564"/>
              <a:gd name="connsiteY3034" fmla="*/ 4168104 h 6858000"/>
              <a:gd name="connsiteX3035" fmla="*/ 1620338 w 6530564"/>
              <a:gd name="connsiteY3035" fmla="*/ 4164430 h 6858000"/>
              <a:gd name="connsiteX3036" fmla="*/ 1616665 w 6530564"/>
              <a:gd name="connsiteY3036" fmla="*/ 4170100 h 6858000"/>
              <a:gd name="connsiteX3037" fmla="*/ 1646242 w 6530564"/>
              <a:gd name="connsiteY3037" fmla="*/ 4354265 h 6858000"/>
              <a:gd name="connsiteX3038" fmla="*/ 1641572 w 6530564"/>
              <a:gd name="connsiteY3038" fmla="*/ 4355264 h 6858000"/>
              <a:gd name="connsiteX3039" fmla="*/ 1634904 w 6530564"/>
              <a:gd name="connsiteY3039" fmla="*/ 4346919 h 6858000"/>
              <a:gd name="connsiteX3040" fmla="*/ 1642569 w 6530564"/>
              <a:gd name="connsiteY3040" fmla="*/ 4359934 h 6858000"/>
              <a:gd name="connsiteX3041" fmla="*/ 1638895 w 6530564"/>
              <a:gd name="connsiteY3041" fmla="*/ 4365602 h 6858000"/>
              <a:gd name="connsiteX3042" fmla="*/ 1623247 w 6530564"/>
              <a:gd name="connsiteY3042" fmla="*/ 4315219 h 6858000"/>
              <a:gd name="connsiteX3043" fmla="*/ 1621571 w 6530564"/>
              <a:gd name="connsiteY3043" fmla="*/ 4330231 h 6858000"/>
              <a:gd name="connsiteX3044" fmla="*/ 1605241 w 6530564"/>
              <a:gd name="connsiteY3044" fmla="*/ 4299529 h 6858000"/>
              <a:gd name="connsiteX3045" fmla="*/ 1595263 w 6530564"/>
              <a:gd name="connsiteY3045" fmla="*/ 4252820 h 6858000"/>
              <a:gd name="connsiteX3046" fmla="*/ 1584604 w 6530564"/>
              <a:gd name="connsiteY3046" fmla="*/ 4225791 h 6858000"/>
              <a:gd name="connsiteX3047" fmla="*/ 1560653 w 6530564"/>
              <a:gd name="connsiteY3047" fmla="*/ 4113688 h 6858000"/>
              <a:gd name="connsiteX3048" fmla="*/ 1557980 w 6530564"/>
              <a:gd name="connsiteY3048" fmla="*/ 4124028 h 6858000"/>
              <a:gd name="connsiteX3049" fmla="*/ 1556981 w 6530564"/>
              <a:gd name="connsiteY3049" fmla="*/ 4119356 h 6858000"/>
              <a:gd name="connsiteX3050" fmla="*/ 1555983 w 6530564"/>
              <a:gd name="connsiteY3050" fmla="*/ 4114685 h 6858000"/>
              <a:gd name="connsiteX3051" fmla="*/ 1553987 w 6530564"/>
              <a:gd name="connsiteY3051" fmla="*/ 4105344 h 6858000"/>
              <a:gd name="connsiteX3052" fmla="*/ 1535347 w 6530564"/>
              <a:gd name="connsiteY3052" fmla="*/ 4040947 h 6858000"/>
              <a:gd name="connsiteX3053" fmla="*/ 1533348 w 6530564"/>
              <a:gd name="connsiteY3053" fmla="*/ 4031606 h 6858000"/>
              <a:gd name="connsiteX3054" fmla="*/ 1530356 w 6530564"/>
              <a:gd name="connsiteY3054" fmla="*/ 4017592 h 6858000"/>
              <a:gd name="connsiteX3055" fmla="*/ 1524368 w 6530564"/>
              <a:gd name="connsiteY3055" fmla="*/ 3989566 h 6858000"/>
              <a:gd name="connsiteX3056" fmla="*/ 1523369 w 6530564"/>
              <a:gd name="connsiteY3056" fmla="*/ 3984895 h 6858000"/>
              <a:gd name="connsiteX3057" fmla="*/ 1522372 w 6530564"/>
              <a:gd name="connsiteY3057" fmla="*/ 3980224 h 6858000"/>
              <a:gd name="connsiteX3058" fmla="*/ 1517699 w 6530564"/>
              <a:gd name="connsiteY3058" fmla="*/ 3981221 h 6858000"/>
              <a:gd name="connsiteX3059" fmla="*/ 1526045 w 6530564"/>
              <a:gd name="connsiteY3059" fmla="*/ 3974555 h 6858000"/>
              <a:gd name="connsiteX3060" fmla="*/ 1518380 w 6530564"/>
              <a:gd name="connsiteY3060" fmla="*/ 3961540 h 6858000"/>
              <a:gd name="connsiteX3061" fmla="*/ 1514707 w 6530564"/>
              <a:gd name="connsiteY3061" fmla="*/ 3967209 h 6858000"/>
              <a:gd name="connsiteX3062" fmla="*/ 1512710 w 6530564"/>
              <a:gd name="connsiteY3062" fmla="*/ 3957867 h 6858000"/>
              <a:gd name="connsiteX3063" fmla="*/ 1504408 w 6530564"/>
              <a:gd name="connsiteY3063" fmla="*/ 3896146 h 6858000"/>
              <a:gd name="connsiteX3064" fmla="*/ 1505087 w 6530564"/>
              <a:gd name="connsiteY3064" fmla="*/ 3876464 h 6858000"/>
              <a:gd name="connsiteX3065" fmla="*/ 1503093 w 6530564"/>
              <a:gd name="connsiteY3065" fmla="*/ 3867123 h 6858000"/>
              <a:gd name="connsiteX3066" fmla="*/ 1505767 w 6530564"/>
              <a:gd name="connsiteY3066" fmla="*/ 3856782 h 6858000"/>
              <a:gd name="connsiteX3067" fmla="*/ 1511436 w 6530564"/>
              <a:gd name="connsiteY3067" fmla="*/ 3860456 h 6858000"/>
              <a:gd name="connsiteX3068" fmla="*/ 1517105 w 6530564"/>
              <a:gd name="connsiteY3068" fmla="*/ 3864128 h 6858000"/>
              <a:gd name="connsiteX3069" fmla="*/ 1516108 w 6530564"/>
              <a:gd name="connsiteY3069" fmla="*/ 3859457 h 6858000"/>
              <a:gd name="connsiteX3070" fmla="*/ 1520779 w 6530564"/>
              <a:gd name="connsiteY3070" fmla="*/ 3858458 h 6858000"/>
              <a:gd name="connsiteX3071" fmla="*/ 1514112 w 6530564"/>
              <a:gd name="connsiteY3071" fmla="*/ 3850114 h 6858000"/>
              <a:gd name="connsiteX3072" fmla="*/ 1502774 w 6530564"/>
              <a:gd name="connsiteY3072" fmla="*/ 3842769 h 6858000"/>
              <a:gd name="connsiteX3073" fmla="*/ 1499101 w 6530564"/>
              <a:gd name="connsiteY3073" fmla="*/ 3848438 h 6858000"/>
              <a:gd name="connsiteX3074" fmla="*/ 1491436 w 6530564"/>
              <a:gd name="connsiteY3074" fmla="*/ 3835424 h 6858000"/>
              <a:gd name="connsiteX3075" fmla="*/ 1491118 w 6530564"/>
              <a:gd name="connsiteY3075" fmla="*/ 3811070 h 6858000"/>
              <a:gd name="connsiteX3076" fmla="*/ 1496785 w 6530564"/>
              <a:gd name="connsiteY3076" fmla="*/ 3814743 h 6858000"/>
              <a:gd name="connsiteX3077" fmla="*/ 1495787 w 6530564"/>
              <a:gd name="connsiteY3077" fmla="*/ 3810073 h 6858000"/>
              <a:gd name="connsiteX3078" fmla="*/ 1493791 w 6530564"/>
              <a:gd name="connsiteY3078" fmla="*/ 3800730 h 6858000"/>
              <a:gd name="connsiteX3079" fmla="*/ 1492794 w 6530564"/>
              <a:gd name="connsiteY3079" fmla="*/ 3796059 h 6858000"/>
              <a:gd name="connsiteX3080" fmla="*/ 1491796 w 6530564"/>
              <a:gd name="connsiteY3080" fmla="*/ 3791389 h 6858000"/>
              <a:gd name="connsiteX3081" fmla="*/ 1487804 w 6530564"/>
              <a:gd name="connsiteY3081" fmla="*/ 3772705 h 6858000"/>
              <a:gd name="connsiteX3082" fmla="*/ 1484809 w 6530564"/>
              <a:gd name="connsiteY3082" fmla="*/ 3758693 h 6858000"/>
              <a:gd name="connsiteX3083" fmla="*/ 1486487 w 6530564"/>
              <a:gd name="connsiteY3083" fmla="*/ 3743680 h 6858000"/>
              <a:gd name="connsiteX3084" fmla="*/ 1484853 w 6530564"/>
              <a:gd name="connsiteY3084" fmla="*/ 3690303 h 6858000"/>
              <a:gd name="connsiteX3085" fmla="*/ 1480182 w 6530564"/>
              <a:gd name="connsiteY3085" fmla="*/ 3691301 h 6858000"/>
              <a:gd name="connsiteX3086" fmla="*/ 1478906 w 6530564"/>
              <a:gd name="connsiteY3086" fmla="*/ 3593889 h 6858000"/>
              <a:gd name="connsiteX3087" fmla="*/ 1481582 w 6530564"/>
              <a:gd name="connsiteY3087" fmla="*/ 3583549 h 6858000"/>
              <a:gd name="connsiteX3088" fmla="*/ 1480585 w 6530564"/>
              <a:gd name="connsiteY3088" fmla="*/ 3578879 h 6858000"/>
              <a:gd name="connsiteX3089" fmla="*/ 1476911 w 6530564"/>
              <a:gd name="connsiteY3089" fmla="*/ 3584548 h 6858000"/>
              <a:gd name="connsiteX3090" fmla="*/ 1476591 w 6530564"/>
              <a:gd name="connsiteY3090" fmla="*/ 3560194 h 6858000"/>
              <a:gd name="connsiteX3091" fmla="*/ 1480266 w 6530564"/>
              <a:gd name="connsiteY3091" fmla="*/ 3554525 h 6858000"/>
              <a:gd name="connsiteX3092" fmla="*/ 1474596 w 6530564"/>
              <a:gd name="connsiteY3092" fmla="*/ 3550853 h 6858000"/>
              <a:gd name="connsiteX3093" fmla="*/ 1477271 w 6530564"/>
              <a:gd name="connsiteY3093" fmla="*/ 3540513 h 6858000"/>
              <a:gd name="connsiteX3094" fmla="*/ 1477950 w 6530564"/>
              <a:gd name="connsiteY3094" fmla="*/ 3520831 h 6858000"/>
              <a:gd name="connsiteX3095" fmla="*/ 1476953 w 6530564"/>
              <a:gd name="connsiteY3095" fmla="*/ 3516159 h 6858000"/>
              <a:gd name="connsiteX3096" fmla="*/ 1473959 w 6530564"/>
              <a:gd name="connsiteY3096" fmla="*/ 3502146 h 6858000"/>
              <a:gd name="connsiteX3097" fmla="*/ 1478631 w 6530564"/>
              <a:gd name="connsiteY3097" fmla="*/ 3501149 h 6858000"/>
              <a:gd name="connsiteX3098" fmla="*/ 1485742 w 6530564"/>
              <a:gd name="connsiteY3098" fmla="*/ 3328682 h 6858000"/>
              <a:gd name="connsiteX3099" fmla="*/ 1490413 w 6530564"/>
              <a:gd name="connsiteY3099" fmla="*/ 3327685 h 6858000"/>
              <a:gd name="connsiteX3100" fmla="*/ 1490732 w 6530564"/>
              <a:gd name="connsiteY3100" fmla="*/ 3352037 h 6858000"/>
              <a:gd name="connsiteX3101" fmla="*/ 1492048 w 6530564"/>
              <a:gd name="connsiteY3101" fmla="*/ 3381061 h 6858000"/>
              <a:gd name="connsiteX3102" fmla="*/ 1488015 w 6530564"/>
              <a:gd name="connsiteY3102" fmla="*/ 3430765 h 6858000"/>
              <a:gd name="connsiteX3103" fmla="*/ 1496593 w 6530564"/>
              <a:gd name="connsiteY3103" fmla="*/ 3585226 h 6858000"/>
              <a:gd name="connsiteX3104" fmla="*/ 1492920 w 6530564"/>
              <a:gd name="connsiteY3104" fmla="*/ 3590896 h 6858000"/>
              <a:gd name="connsiteX3105" fmla="*/ 1494916 w 6530564"/>
              <a:gd name="connsiteY3105" fmla="*/ 3600237 h 6858000"/>
              <a:gd name="connsiteX3106" fmla="*/ 1493239 w 6530564"/>
              <a:gd name="connsiteY3106" fmla="*/ 3615248 h 6858000"/>
              <a:gd name="connsiteX3107" fmla="*/ 1496911 w 6530564"/>
              <a:gd name="connsiteY3107" fmla="*/ 3609580 h 6858000"/>
              <a:gd name="connsiteX3108" fmla="*/ 1495235 w 6530564"/>
              <a:gd name="connsiteY3108" fmla="*/ 3624591 h 6858000"/>
              <a:gd name="connsiteX3109" fmla="*/ 1498229 w 6530564"/>
              <a:gd name="connsiteY3109" fmla="*/ 3638603 h 6858000"/>
              <a:gd name="connsiteX3110" fmla="*/ 1501903 w 6530564"/>
              <a:gd name="connsiteY3110" fmla="*/ 3632933 h 6858000"/>
              <a:gd name="connsiteX3111" fmla="*/ 1504577 w 6530564"/>
              <a:gd name="connsiteY3111" fmla="*/ 3622595 h 6858000"/>
              <a:gd name="connsiteX3112" fmla="*/ 1500585 w 6530564"/>
              <a:gd name="connsiteY3112" fmla="*/ 3603911 h 6858000"/>
              <a:gd name="connsiteX3113" fmla="*/ 1504258 w 6530564"/>
              <a:gd name="connsiteY3113" fmla="*/ 3598241 h 6858000"/>
              <a:gd name="connsiteX3114" fmla="*/ 1508929 w 6530564"/>
              <a:gd name="connsiteY3114" fmla="*/ 3597243 h 6858000"/>
              <a:gd name="connsiteX3115" fmla="*/ 1507930 w 6530564"/>
              <a:gd name="connsiteY3115" fmla="*/ 3592574 h 6858000"/>
              <a:gd name="connsiteX3116" fmla="*/ 1506933 w 6530564"/>
              <a:gd name="connsiteY3116" fmla="*/ 3587901 h 6858000"/>
              <a:gd name="connsiteX3117" fmla="*/ 1500267 w 6530564"/>
              <a:gd name="connsiteY3117" fmla="*/ 3579558 h 6858000"/>
              <a:gd name="connsiteX3118" fmla="*/ 1499268 w 6530564"/>
              <a:gd name="connsiteY3118" fmla="*/ 3574887 h 6858000"/>
              <a:gd name="connsiteX3119" fmla="*/ 1498270 w 6530564"/>
              <a:gd name="connsiteY3119" fmla="*/ 3570216 h 6858000"/>
              <a:gd name="connsiteX3120" fmla="*/ 1497951 w 6530564"/>
              <a:gd name="connsiteY3120" fmla="*/ 3545863 h 6858000"/>
              <a:gd name="connsiteX3121" fmla="*/ 1502303 w 6530564"/>
              <a:gd name="connsiteY3121" fmla="*/ 3520512 h 6858000"/>
              <a:gd name="connsiteX3122" fmla="*/ 1503052 w 6530564"/>
              <a:gd name="connsiteY3122" fmla="*/ 3524015 h 6858000"/>
              <a:gd name="connsiteX3123" fmla="*/ 1503302 w 6530564"/>
              <a:gd name="connsiteY3123" fmla="*/ 3525183 h 6858000"/>
              <a:gd name="connsiteX3124" fmla="*/ 1504300 w 6530564"/>
              <a:gd name="connsiteY3124" fmla="*/ 3529853 h 6858000"/>
              <a:gd name="connsiteX3125" fmla="*/ 1507974 w 6530564"/>
              <a:gd name="connsiteY3125" fmla="*/ 3524184 h 6858000"/>
              <a:gd name="connsiteX3126" fmla="*/ 1504979 w 6530564"/>
              <a:gd name="connsiteY3126" fmla="*/ 3510172 h 6858000"/>
              <a:gd name="connsiteX3127" fmla="*/ 1502984 w 6530564"/>
              <a:gd name="connsiteY3127" fmla="*/ 3500831 h 6858000"/>
              <a:gd name="connsiteX3128" fmla="*/ 1505701 w 6530564"/>
              <a:gd name="connsiteY3128" fmla="*/ 3422101 h 6858000"/>
              <a:gd name="connsiteX3129" fmla="*/ 1504702 w 6530564"/>
              <a:gd name="connsiteY3129" fmla="*/ 3417432 h 6858000"/>
              <a:gd name="connsiteX3130" fmla="*/ 1513725 w 6530564"/>
              <a:gd name="connsiteY3130" fmla="*/ 3391082 h 6858000"/>
              <a:gd name="connsiteX3131" fmla="*/ 1517081 w 6530564"/>
              <a:gd name="connsiteY3131" fmla="*/ 3361059 h 6858000"/>
              <a:gd name="connsiteX3132" fmla="*/ 1537845 w 6530564"/>
              <a:gd name="connsiteY3132" fmla="*/ 3229635 h 6858000"/>
              <a:gd name="connsiteX3133" fmla="*/ 1537470 w 6530564"/>
              <a:gd name="connsiteY3133" fmla="*/ 3237096 h 6858000"/>
              <a:gd name="connsiteX3134" fmla="*/ 1536167 w 6530564"/>
              <a:gd name="connsiteY3134" fmla="*/ 3244645 h 6858000"/>
              <a:gd name="connsiteX3135" fmla="*/ 1537380 w 6530564"/>
              <a:gd name="connsiteY3135" fmla="*/ 3238891 h 6858000"/>
              <a:gd name="connsiteX3136" fmla="*/ 1537470 w 6530564"/>
              <a:gd name="connsiteY3136" fmla="*/ 3237096 h 6858000"/>
              <a:gd name="connsiteX3137" fmla="*/ 1547897 w 6530564"/>
              <a:gd name="connsiteY3137" fmla="*/ 3176681 h 6858000"/>
              <a:gd name="connsiteX3138" fmla="*/ 1545573 w 6530564"/>
              <a:gd name="connsiteY3138" fmla="*/ 3277555 h 6858000"/>
              <a:gd name="connsiteX3139" fmla="*/ 1597367 w 6530564"/>
              <a:gd name="connsiteY3139" fmla="*/ 3833692 h 6858000"/>
              <a:gd name="connsiteX3140" fmla="*/ 1601925 w 6530564"/>
              <a:gd name="connsiteY3140" fmla="*/ 3855026 h 6858000"/>
              <a:gd name="connsiteX3141" fmla="*/ 1610266 w 6530564"/>
              <a:gd name="connsiteY3141" fmla="*/ 3808629 h 6858000"/>
              <a:gd name="connsiteX3142" fmla="*/ 1591906 w 6530564"/>
              <a:gd name="connsiteY3142" fmla="*/ 3017877 h 6858000"/>
              <a:gd name="connsiteX3143" fmla="*/ 1617063 w 6530564"/>
              <a:gd name="connsiteY3143" fmla="*/ 2889971 h 6858000"/>
              <a:gd name="connsiteX3144" fmla="*/ 1617864 w 6530564"/>
              <a:gd name="connsiteY3144" fmla="*/ 2892622 h 6858000"/>
              <a:gd name="connsiteX3145" fmla="*/ 1623449 w 6530564"/>
              <a:gd name="connsiteY3145" fmla="*/ 2898755 h 6858000"/>
              <a:gd name="connsiteX3146" fmla="*/ 1621000 w 6530564"/>
              <a:gd name="connsiteY3146" fmla="*/ 2881573 h 6858000"/>
              <a:gd name="connsiteX3147" fmla="*/ 1619374 w 6530564"/>
              <a:gd name="connsiteY3147" fmla="*/ 2878224 h 6858000"/>
              <a:gd name="connsiteX3148" fmla="*/ 1620680 w 6530564"/>
              <a:gd name="connsiteY3148" fmla="*/ 2871580 h 6858000"/>
              <a:gd name="connsiteX3149" fmla="*/ 1624809 w 6530564"/>
              <a:gd name="connsiteY3149" fmla="*/ 2859392 h 6858000"/>
              <a:gd name="connsiteX3150" fmla="*/ 1626805 w 6530564"/>
              <a:gd name="connsiteY3150" fmla="*/ 2868734 h 6858000"/>
              <a:gd name="connsiteX3151" fmla="*/ 1653555 w 6530564"/>
              <a:gd name="connsiteY3151" fmla="*/ 2765334 h 6858000"/>
              <a:gd name="connsiteX3152" fmla="*/ 1659225 w 6530564"/>
              <a:gd name="connsiteY3152" fmla="*/ 2769008 h 6858000"/>
              <a:gd name="connsiteX3153" fmla="*/ 1687292 w 6530564"/>
              <a:gd name="connsiteY3153" fmla="*/ 2694632 h 6858000"/>
              <a:gd name="connsiteX3154" fmla="*/ 1721709 w 6530564"/>
              <a:gd name="connsiteY3154" fmla="*/ 2604247 h 6858000"/>
              <a:gd name="connsiteX3155" fmla="*/ 1765467 w 6530564"/>
              <a:gd name="connsiteY3155" fmla="*/ 2511867 h 6858000"/>
              <a:gd name="connsiteX3156" fmla="*/ 1770138 w 6530564"/>
              <a:gd name="connsiteY3156" fmla="*/ 2510869 h 6858000"/>
              <a:gd name="connsiteX3157" fmla="*/ 1767464 w 6530564"/>
              <a:gd name="connsiteY3157" fmla="*/ 2521209 h 6858000"/>
              <a:gd name="connsiteX3158" fmla="*/ 1772134 w 6530564"/>
              <a:gd name="connsiteY3158" fmla="*/ 2520212 h 6858000"/>
              <a:gd name="connsiteX3159" fmla="*/ 1771136 w 6530564"/>
              <a:gd name="connsiteY3159" fmla="*/ 2515541 h 6858000"/>
              <a:gd name="connsiteX3160" fmla="*/ 1774810 w 6530564"/>
              <a:gd name="connsiteY3160" fmla="*/ 2509871 h 6858000"/>
              <a:gd name="connsiteX3161" fmla="*/ 1792178 w 6530564"/>
              <a:gd name="connsiteY3161" fmla="*/ 2476856 h 6858000"/>
              <a:gd name="connsiteX3162" fmla="*/ 1790180 w 6530564"/>
              <a:gd name="connsiteY3162" fmla="*/ 2467514 h 6858000"/>
              <a:gd name="connsiteX3163" fmla="*/ 1793854 w 6530564"/>
              <a:gd name="connsiteY3163" fmla="*/ 2461845 h 6858000"/>
              <a:gd name="connsiteX3164" fmla="*/ 1795850 w 6530564"/>
              <a:gd name="connsiteY3164" fmla="*/ 2471187 h 6858000"/>
              <a:gd name="connsiteX3165" fmla="*/ 1801201 w 6530564"/>
              <a:gd name="connsiteY3165" fmla="*/ 2450507 h 6858000"/>
              <a:gd name="connsiteX3166" fmla="*/ 1802198 w 6530564"/>
              <a:gd name="connsiteY3166" fmla="*/ 2455177 h 6858000"/>
              <a:gd name="connsiteX3167" fmla="*/ 1803197 w 6530564"/>
              <a:gd name="connsiteY3167" fmla="*/ 2459849 h 6858000"/>
              <a:gd name="connsiteX3168" fmla="*/ 1807868 w 6530564"/>
              <a:gd name="connsiteY3168" fmla="*/ 2458850 h 6858000"/>
              <a:gd name="connsiteX3169" fmla="*/ 1806871 w 6530564"/>
              <a:gd name="connsiteY3169" fmla="*/ 2454180 h 6858000"/>
              <a:gd name="connsiteX3170" fmla="*/ 1804873 w 6530564"/>
              <a:gd name="connsiteY3170" fmla="*/ 2444837 h 6858000"/>
              <a:gd name="connsiteX3171" fmla="*/ 1807549 w 6530564"/>
              <a:gd name="connsiteY3171" fmla="*/ 2434499 h 6858000"/>
              <a:gd name="connsiteX3172" fmla="*/ 1812220 w 6530564"/>
              <a:gd name="connsiteY3172" fmla="*/ 2433500 h 6858000"/>
              <a:gd name="connsiteX3173" fmla="*/ 1815894 w 6530564"/>
              <a:gd name="connsiteY3173" fmla="*/ 2427831 h 6858000"/>
              <a:gd name="connsiteX3174" fmla="*/ 1814895 w 6530564"/>
              <a:gd name="connsiteY3174" fmla="*/ 2423160 h 6858000"/>
              <a:gd name="connsiteX3175" fmla="*/ 1822240 w 6530564"/>
              <a:gd name="connsiteY3175" fmla="*/ 2411823 h 6858000"/>
              <a:gd name="connsiteX3176" fmla="*/ 1825914 w 6530564"/>
              <a:gd name="connsiteY3176" fmla="*/ 2406152 h 6858000"/>
              <a:gd name="connsiteX3177" fmla="*/ 1826913 w 6530564"/>
              <a:gd name="connsiteY3177" fmla="*/ 2410824 h 6858000"/>
              <a:gd name="connsiteX3178" fmla="*/ 1830586 w 6530564"/>
              <a:gd name="connsiteY3178" fmla="*/ 2405155 h 6858000"/>
              <a:gd name="connsiteX3179" fmla="*/ 1833261 w 6530564"/>
              <a:gd name="connsiteY3179" fmla="*/ 2394815 h 6858000"/>
              <a:gd name="connsiteX3180" fmla="*/ 1845277 w 6530564"/>
              <a:gd name="connsiteY3180" fmla="*/ 2382479 h 6858000"/>
              <a:gd name="connsiteX3181" fmla="*/ 1851945 w 6530564"/>
              <a:gd name="connsiteY3181" fmla="*/ 2390824 h 6858000"/>
              <a:gd name="connsiteX3182" fmla="*/ 1861966 w 6530564"/>
              <a:gd name="connsiteY3182" fmla="*/ 2369146 h 6858000"/>
              <a:gd name="connsiteX3183" fmla="*/ 1866636 w 6530564"/>
              <a:gd name="connsiteY3183" fmla="*/ 2368147 h 6858000"/>
              <a:gd name="connsiteX3184" fmla="*/ 1867635 w 6530564"/>
              <a:gd name="connsiteY3184" fmla="*/ 2372820 h 6858000"/>
              <a:gd name="connsiteX3185" fmla="*/ 1863962 w 6530564"/>
              <a:gd name="connsiteY3185" fmla="*/ 2378487 h 6858000"/>
              <a:gd name="connsiteX3186" fmla="*/ 1864960 w 6530564"/>
              <a:gd name="connsiteY3186" fmla="*/ 2383159 h 6858000"/>
              <a:gd name="connsiteX3187" fmla="*/ 1869631 w 6530564"/>
              <a:gd name="connsiteY3187" fmla="*/ 2382161 h 6858000"/>
              <a:gd name="connsiteX3188" fmla="*/ 1868632 w 6530564"/>
              <a:gd name="connsiteY3188" fmla="*/ 2377489 h 6858000"/>
              <a:gd name="connsiteX3189" fmla="*/ 1872306 w 6530564"/>
              <a:gd name="connsiteY3189" fmla="*/ 2371821 h 6858000"/>
              <a:gd name="connsiteX3190" fmla="*/ 1870310 w 6530564"/>
              <a:gd name="connsiteY3190" fmla="*/ 2362478 h 6858000"/>
              <a:gd name="connsiteX3191" fmla="*/ 1865639 w 6530564"/>
              <a:gd name="connsiteY3191" fmla="*/ 2363477 h 6858000"/>
              <a:gd name="connsiteX3192" fmla="*/ 1877339 w 6530564"/>
              <a:gd name="connsiteY3192" fmla="*/ 2326787 h 6858000"/>
              <a:gd name="connsiteX3193" fmla="*/ 1864323 w 6530564"/>
              <a:gd name="connsiteY3193" fmla="*/ 2334453 h 6858000"/>
              <a:gd name="connsiteX3194" fmla="*/ 1875342 w 6530564"/>
              <a:gd name="connsiteY3194" fmla="*/ 2317445 h 6858000"/>
              <a:gd name="connsiteX3195" fmla="*/ 1886360 w 6530564"/>
              <a:gd name="connsiteY3195" fmla="*/ 2300440 h 6858000"/>
              <a:gd name="connsiteX3196" fmla="*/ 1893707 w 6530564"/>
              <a:gd name="connsiteY3196" fmla="*/ 2289102 h 6858000"/>
              <a:gd name="connsiteX3197" fmla="*/ 1895703 w 6530564"/>
              <a:gd name="connsiteY3197" fmla="*/ 2298443 h 6858000"/>
              <a:gd name="connsiteX3198" fmla="*/ 1905725 w 6530564"/>
              <a:gd name="connsiteY3198" fmla="*/ 2276764 h 6858000"/>
              <a:gd name="connsiteX3199" fmla="*/ 1910394 w 6530564"/>
              <a:gd name="connsiteY3199" fmla="*/ 2275767 h 6858000"/>
              <a:gd name="connsiteX3200" fmla="*/ 1912391 w 6530564"/>
              <a:gd name="connsiteY3200" fmla="*/ 2285110 h 6858000"/>
              <a:gd name="connsiteX3201" fmla="*/ 1917063 w 6530564"/>
              <a:gd name="connsiteY3201" fmla="*/ 2284111 h 6858000"/>
              <a:gd name="connsiteX3202" fmla="*/ 1916065 w 6530564"/>
              <a:gd name="connsiteY3202" fmla="*/ 2279441 h 6858000"/>
              <a:gd name="connsiteX3203" fmla="*/ 1920736 w 6530564"/>
              <a:gd name="connsiteY3203" fmla="*/ 2278443 h 6858000"/>
              <a:gd name="connsiteX3204" fmla="*/ 1918740 w 6530564"/>
              <a:gd name="connsiteY3204" fmla="*/ 2269100 h 6858000"/>
              <a:gd name="connsiteX3205" fmla="*/ 1922414 w 6530564"/>
              <a:gd name="connsiteY3205" fmla="*/ 2263431 h 6858000"/>
              <a:gd name="connsiteX3206" fmla="*/ 1926085 w 6530564"/>
              <a:gd name="connsiteY3206" fmla="*/ 2257763 h 6858000"/>
              <a:gd name="connsiteX3207" fmla="*/ 1930756 w 6530564"/>
              <a:gd name="connsiteY3207" fmla="*/ 2256764 h 6858000"/>
              <a:gd name="connsiteX3208" fmla="*/ 1931755 w 6530564"/>
              <a:gd name="connsiteY3208" fmla="*/ 2261436 h 6858000"/>
              <a:gd name="connsiteX3209" fmla="*/ 1929080 w 6530564"/>
              <a:gd name="connsiteY3209" fmla="*/ 2271775 h 6858000"/>
              <a:gd name="connsiteX3210" fmla="*/ 1926405 w 6530564"/>
              <a:gd name="connsiteY3210" fmla="*/ 2282115 h 6858000"/>
              <a:gd name="connsiteX3211" fmla="*/ 1934748 w 6530564"/>
              <a:gd name="connsiteY3211" fmla="*/ 2275449 h 6858000"/>
              <a:gd name="connsiteX3212" fmla="*/ 1940099 w 6530564"/>
              <a:gd name="connsiteY3212" fmla="*/ 2254769 h 6858000"/>
              <a:gd name="connsiteX3213" fmla="*/ 1939100 w 6530564"/>
              <a:gd name="connsiteY3213" fmla="*/ 2250098 h 6858000"/>
              <a:gd name="connsiteX3214" fmla="*/ 1940779 w 6530564"/>
              <a:gd name="connsiteY3214" fmla="*/ 2235086 h 6858000"/>
              <a:gd name="connsiteX3215" fmla="*/ 1945449 w 6530564"/>
              <a:gd name="connsiteY3215" fmla="*/ 2234089 h 6858000"/>
              <a:gd name="connsiteX3216" fmla="*/ 1985855 w 6530564"/>
              <a:gd name="connsiteY3216" fmla="*/ 2171731 h 6858000"/>
              <a:gd name="connsiteX3217" fmla="*/ 1989527 w 6530564"/>
              <a:gd name="connsiteY3217" fmla="*/ 2166061 h 6858000"/>
              <a:gd name="connsiteX3218" fmla="*/ 1993200 w 6530564"/>
              <a:gd name="connsiteY3218" fmla="*/ 2160392 h 6858000"/>
              <a:gd name="connsiteX3219" fmla="*/ 2000546 w 6530564"/>
              <a:gd name="connsiteY3219" fmla="*/ 2149055 h 6858000"/>
              <a:gd name="connsiteX3220" fmla="*/ 2004219 w 6530564"/>
              <a:gd name="connsiteY3220" fmla="*/ 2143386 h 6858000"/>
              <a:gd name="connsiteX3221" fmla="*/ 2015238 w 6530564"/>
              <a:gd name="connsiteY3221" fmla="*/ 2126379 h 6858000"/>
              <a:gd name="connsiteX3222" fmla="*/ 2022584 w 6530564"/>
              <a:gd name="connsiteY3222" fmla="*/ 2115041 h 6858000"/>
              <a:gd name="connsiteX3223" fmla="*/ 2027256 w 6530564"/>
              <a:gd name="connsiteY3223" fmla="*/ 2114043 h 6858000"/>
              <a:gd name="connsiteX3224" fmla="*/ 2057639 w 6530564"/>
              <a:gd name="connsiteY3224" fmla="*/ 2073362 h 6858000"/>
              <a:gd name="connsiteX3225" fmla="*/ 2070330 w 6530564"/>
              <a:gd name="connsiteY3225" fmla="*/ 2049893 h 6858000"/>
              <a:gd name="connsiteX3226" fmla="*/ 2084675 w 6530564"/>
              <a:gd name="connsiteY3226" fmla="*/ 2019414 h 6858000"/>
              <a:gd name="connsiteX3227" fmla="*/ 2085251 w 6530564"/>
              <a:gd name="connsiteY3227" fmla="*/ 2026039 h 6858000"/>
              <a:gd name="connsiteX3228" fmla="*/ 2069717 w 6530564"/>
              <a:gd name="connsiteY3228" fmla="*/ 2057748 h 6858000"/>
              <a:gd name="connsiteX3229" fmla="*/ 1934524 w 6530564"/>
              <a:gd name="connsiteY3229" fmla="*/ 2279281 h 6858000"/>
              <a:gd name="connsiteX3230" fmla="*/ 1942264 w 6530564"/>
              <a:gd name="connsiteY3230" fmla="*/ 2306017 h 6858000"/>
              <a:gd name="connsiteX3231" fmla="*/ 1939891 w 6530564"/>
              <a:gd name="connsiteY3231" fmla="*/ 2332886 h 6858000"/>
              <a:gd name="connsiteX3232" fmla="*/ 1744379 w 6530564"/>
              <a:gd name="connsiteY3232" fmla="*/ 2879600 h 6858000"/>
              <a:gd name="connsiteX3233" fmla="*/ 1717309 w 6530564"/>
              <a:gd name="connsiteY3233" fmla="*/ 3635697 h 6858000"/>
              <a:gd name="connsiteX3234" fmla="*/ 1724502 w 6530564"/>
              <a:gd name="connsiteY3234" fmla="*/ 3650384 h 6858000"/>
              <a:gd name="connsiteX3235" fmla="*/ 1738840 w 6530564"/>
              <a:gd name="connsiteY3235" fmla="*/ 3318804 h 6858000"/>
              <a:gd name="connsiteX3236" fmla="*/ 1762235 w 6530564"/>
              <a:gd name="connsiteY3236" fmla="*/ 3561205 h 6858000"/>
              <a:gd name="connsiteX3237" fmla="*/ 1759082 w 6530564"/>
              <a:gd name="connsiteY3237" fmla="*/ 3591538 h 6858000"/>
              <a:gd name="connsiteX3238" fmla="*/ 1769723 w 6530564"/>
              <a:gd name="connsiteY3238" fmla="*/ 3617611 h 6858000"/>
              <a:gd name="connsiteX3239" fmla="*/ 1769321 w 6530564"/>
              <a:gd name="connsiteY3239" fmla="*/ 3612476 h 6858000"/>
              <a:gd name="connsiteX3240" fmla="*/ 1833782 w 6530564"/>
              <a:gd name="connsiteY3240" fmla="*/ 2810787 h 6858000"/>
              <a:gd name="connsiteX3241" fmla="*/ 1970873 w 6530564"/>
              <a:gd name="connsiteY3241" fmla="*/ 2408113 h 6858000"/>
              <a:gd name="connsiteX3242" fmla="*/ 2031252 w 6530564"/>
              <a:gd name="connsiteY3242" fmla="*/ 2275389 h 6858000"/>
              <a:gd name="connsiteX3243" fmla="*/ 2065646 w 6530564"/>
              <a:gd name="connsiteY3243" fmla="*/ 2223293 h 6858000"/>
              <a:gd name="connsiteX3244" fmla="*/ 2102160 w 6530564"/>
              <a:gd name="connsiteY3244" fmla="*/ 2146947 h 6858000"/>
              <a:gd name="connsiteX3245" fmla="*/ 2129354 w 6530564"/>
              <a:gd name="connsiteY3245" fmla="*/ 2116277 h 6858000"/>
              <a:gd name="connsiteX3246" fmla="*/ 2168272 w 6530564"/>
              <a:gd name="connsiteY3246" fmla="*/ 2079992 h 6858000"/>
              <a:gd name="connsiteX3247" fmla="*/ 2217506 w 6530564"/>
              <a:gd name="connsiteY3247" fmla="*/ 1999754 h 6858000"/>
              <a:gd name="connsiteX3248" fmla="*/ 2332460 w 6530564"/>
              <a:gd name="connsiteY3248" fmla="*/ 1875815 h 6858000"/>
              <a:gd name="connsiteX3249" fmla="*/ 2704943 w 6530564"/>
              <a:gd name="connsiteY3249" fmla="*/ 1569790 h 6858000"/>
              <a:gd name="connsiteX3250" fmla="*/ 2964173 w 6530564"/>
              <a:gd name="connsiteY3250" fmla="*/ 1408599 h 6858000"/>
              <a:gd name="connsiteX3251" fmla="*/ 2984167 w 6530564"/>
              <a:gd name="connsiteY3251" fmla="*/ 1399357 h 6858000"/>
              <a:gd name="connsiteX3252" fmla="*/ 3008948 w 6530564"/>
              <a:gd name="connsiteY3252" fmla="*/ 1410376 h 6858000"/>
              <a:gd name="connsiteX3253" fmla="*/ 2995666 w 6530564"/>
              <a:gd name="connsiteY3253" fmla="*/ 1427255 h 6858000"/>
              <a:gd name="connsiteX3254" fmla="*/ 2856153 w 6530564"/>
              <a:gd name="connsiteY3254" fmla="*/ 1506659 h 6858000"/>
              <a:gd name="connsiteX3255" fmla="*/ 2836329 w 6530564"/>
              <a:gd name="connsiteY3255" fmla="*/ 1526166 h 6858000"/>
              <a:gd name="connsiteX3256" fmla="*/ 2834871 w 6530564"/>
              <a:gd name="connsiteY3256" fmla="*/ 1531611 h 6858000"/>
              <a:gd name="connsiteX3257" fmla="*/ 2839687 w 6530564"/>
              <a:gd name="connsiteY3257" fmla="*/ 1529983 h 6858000"/>
              <a:gd name="connsiteX3258" fmla="*/ 3105334 w 6530564"/>
              <a:gd name="connsiteY3258" fmla="*/ 1393869 h 6858000"/>
              <a:gd name="connsiteX3259" fmla="*/ 3190120 w 6530564"/>
              <a:gd name="connsiteY3259" fmla="*/ 1355273 h 6858000"/>
              <a:gd name="connsiteX3260" fmla="*/ 3200753 w 6530564"/>
              <a:gd name="connsiteY3260" fmla="*/ 1351005 h 6858000"/>
              <a:gd name="connsiteX3261" fmla="*/ 3205367 w 6530564"/>
              <a:gd name="connsiteY3261" fmla="*/ 1344182 h 6858000"/>
              <a:gd name="connsiteX3262" fmla="*/ 3191596 w 6530564"/>
              <a:gd name="connsiteY3262" fmla="*/ 1347596 h 6858000"/>
              <a:gd name="connsiteX3263" fmla="*/ 3208716 w 6530564"/>
              <a:gd name="connsiteY3263" fmla="*/ 1339231 h 6858000"/>
              <a:gd name="connsiteX3264" fmla="*/ 3209214 w 6530564"/>
              <a:gd name="connsiteY3264" fmla="*/ 1338493 h 6858000"/>
              <a:gd name="connsiteX3265" fmla="*/ 3058956 w 6530564"/>
              <a:gd name="connsiteY3265" fmla="*/ 1365383 h 6858000"/>
              <a:gd name="connsiteX3266" fmla="*/ 3207049 w 6530564"/>
              <a:gd name="connsiteY3266" fmla="*/ 1300185 h 6858000"/>
              <a:gd name="connsiteX3267" fmla="*/ 3244299 w 6530564"/>
              <a:gd name="connsiteY3267" fmla="*/ 1287715 h 6858000"/>
              <a:gd name="connsiteX3268" fmla="*/ 3186359 w 6530564"/>
              <a:gd name="connsiteY3268" fmla="*/ 1304100 h 6858000"/>
              <a:gd name="connsiteX3269" fmla="*/ 3018716 w 6530564"/>
              <a:gd name="connsiteY3269" fmla="*/ 1364251 h 6858000"/>
              <a:gd name="connsiteX3270" fmla="*/ 2856327 w 6530564"/>
              <a:gd name="connsiteY3270" fmla="*/ 1439503 h 6858000"/>
              <a:gd name="connsiteX3271" fmla="*/ 2869223 w 6530564"/>
              <a:gd name="connsiteY3271" fmla="*/ 1414441 h 6858000"/>
              <a:gd name="connsiteX3272" fmla="*/ 2862577 w 6530564"/>
              <a:gd name="connsiteY3272" fmla="*/ 1411805 h 6858000"/>
              <a:gd name="connsiteX3273" fmla="*/ 2756585 w 6530564"/>
              <a:gd name="connsiteY3273" fmla="*/ 1456757 h 6858000"/>
              <a:gd name="connsiteX3274" fmla="*/ 2462803 w 6530564"/>
              <a:gd name="connsiteY3274" fmla="*/ 1657418 h 6858000"/>
              <a:gd name="connsiteX3275" fmla="*/ 2392001 w 6530564"/>
              <a:gd name="connsiteY3275" fmla="*/ 1686740 h 6858000"/>
              <a:gd name="connsiteX3276" fmla="*/ 2329505 w 6530564"/>
              <a:gd name="connsiteY3276" fmla="*/ 1726455 h 6858000"/>
              <a:gd name="connsiteX3277" fmla="*/ 2277611 w 6530564"/>
              <a:gd name="connsiteY3277" fmla="*/ 1758833 h 6858000"/>
              <a:gd name="connsiteX3278" fmla="*/ 2266239 w 6530564"/>
              <a:gd name="connsiteY3278" fmla="*/ 1762069 h 6858000"/>
              <a:gd name="connsiteX3279" fmla="*/ 2282854 w 6530564"/>
              <a:gd name="connsiteY3279" fmla="*/ 1744404 h 6858000"/>
              <a:gd name="connsiteX3280" fmla="*/ 2374481 w 6530564"/>
              <a:gd name="connsiteY3280" fmla="*/ 1658891 h 6858000"/>
              <a:gd name="connsiteX3281" fmla="*/ 2515332 w 6530564"/>
              <a:gd name="connsiteY3281" fmla="*/ 1540883 h 6858000"/>
              <a:gd name="connsiteX3282" fmla="*/ 2663850 w 6530564"/>
              <a:gd name="connsiteY3282" fmla="*/ 1435891 h 6858000"/>
              <a:gd name="connsiteX3283" fmla="*/ 2681537 w 6530564"/>
              <a:gd name="connsiteY3283" fmla="*/ 1427227 h 6858000"/>
              <a:gd name="connsiteX3284" fmla="*/ 2987551 w 6530564"/>
              <a:gd name="connsiteY3284" fmla="*/ 1259281 h 6858000"/>
              <a:gd name="connsiteX3285" fmla="*/ 3149720 w 6530564"/>
              <a:gd name="connsiteY3285" fmla="*/ 1195329 h 6858000"/>
              <a:gd name="connsiteX3286" fmla="*/ 3259829 w 6530564"/>
              <a:gd name="connsiteY3286" fmla="*/ 1162036 h 6858000"/>
              <a:gd name="connsiteX3287" fmla="*/ 3210739 w 6530564"/>
              <a:gd name="connsiteY3287" fmla="*/ 1178017 h 6858000"/>
              <a:gd name="connsiteX3288" fmla="*/ 3169403 w 6530564"/>
              <a:gd name="connsiteY3288" fmla="*/ 1196006 h 6858000"/>
              <a:gd name="connsiteX3289" fmla="*/ 3164732 w 6530564"/>
              <a:gd name="connsiteY3289" fmla="*/ 1197005 h 6858000"/>
              <a:gd name="connsiteX3290" fmla="*/ 3029591 w 6530564"/>
              <a:gd name="connsiteY3290" fmla="*/ 1250298 h 6858000"/>
              <a:gd name="connsiteX3291" fmla="*/ 3024920 w 6530564"/>
              <a:gd name="connsiteY3291" fmla="*/ 1251297 h 6858000"/>
              <a:gd name="connsiteX3292" fmla="*/ 3025917 w 6530564"/>
              <a:gd name="connsiteY3292" fmla="*/ 1255966 h 6858000"/>
              <a:gd name="connsiteX3293" fmla="*/ 3035260 w 6530564"/>
              <a:gd name="connsiteY3293" fmla="*/ 1253970 h 6858000"/>
              <a:gd name="connsiteX3294" fmla="*/ 3165731 w 6530564"/>
              <a:gd name="connsiteY3294" fmla="*/ 1201677 h 6858000"/>
              <a:gd name="connsiteX3295" fmla="*/ 3171401 w 6530564"/>
              <a:gd name="connsiteY3295" fmla="*/ 1205351 h 6858000"/>
              <a:gd name="connsiteX3296" fmla="*/ 3176071 w 6530564"/>
              <a:gd name="connsiteY3296" fmla="*/ 1204352 h 6858000"/>
              <a:gd name="connsiteX3297" fmla="*/ 3175073 w 6530564"/>
              <a:gd name="connsiteY3297" fmla="*/ 1199680 h 6858000"/>
              <a:gd name="connsiteX3298" fmla="*/ 3270170 w 6530564"/>
              <a:gd name="connsiteY3298" fmla="*/ 1164711 h 6858000"/>
              <a:gd name="connsiteX3299" fmla="*/ 3288855 w 6530564"/>
              <a:gd name="connsiteY3299" fmla="*/ 1160719 h 6858000"/>
              <a:gd name="connsiteX3300" fmla="*/ 3298195 w 6530564"/>
              <a:gd name="connsiteY3300" fmla="*/ 1158724 h 6858000"/>
              <a:gd name="connsiteX3301" fmla="*/ 3297518 w 6530564"/>
              <a:gd name="connsiteY3301" fmla="*/ 1178405 h 6858000"/>
              <a:gd name="connsiteX3302" fmla="*/ 3283504 w 6530564"/>
              <a:gd name="connsiteY3302" fmla="*/ 1181399 h 6858000"/>
              <a:gd name="connsiteX3303" fmla="*/ 3251805 w 6530564"/>
              <a:gd name="connsiteY3303" fmla="*/ 1193056 h 6858000"/>
              <a:gd name="connsiteX3304" fmla="*/ 3247133 w 6530564"/>
              <a:gd name="connsiteY3304" fmla="*/ 1194053 h 6858000"/>
              <a:gd name="connsiteX3305" fmla="*/ 3234118 w 6530564"/>
              <a:gd name="connsiteY3305" fmla="*/ 1201718 h 6858000"/>
              <a:gd name="connsiteX3306" fmla="*/ 3229448 w 6530564"/>
              <a:gd name="connsiteY3306" fmla="*/ 1202715 h 6858000"/>
              <a:gd name="connsiteX3307" fmla="*/ 3235117 w 6530564"/>
              <a:gd name="connsiteY3307" fmla="*/ 1206389 h 6858000"/>
              <a:gd name="connsiteX3308" fmla="*/ 3248132 w 6530564"/>
              <a:gd name="connsiteY3308" fmla="*/ 1198724 h 6858000"/>
              <a:gd name="connsiteX3309" fmla="*/ 3252802 w 6530564"/>
              <a:gd name="connsiteY3309" fmla="*/ 1197727 h 6858000"/>
              <a:gd name="connsiteX3310" fmla="*/ 3249131 w 6530564"/>
              <a:gd name="connsiteY3310" fmla="*/ 1203396 h 6858000"/>
              <a:gd name="connsiteX3311" fmla="*/ 3253801 w 6530564"/>
              <a:gd name="connsiteY3311" fmla="*/ 1202397 h 6858000"/>
              <a:gd name="connsiteX3312" fmla="*/ 3263143 w 6530564"/>
              <a:gd name="connsiteY3312" fmla="*/ 1200401 h 6858000"/>
              <a:gd name="connsiteX3313" fmla="*/ 3262146 w 6530564"/>
              <a:gd name="connsiteY3313" fmla="*/ 1195729 h 6858000"/>
              <a:gd name="connsiteX3314" fmla="*/ 3279831 w 6530564"/>
              <a:gd name="connsiteY3314" fmla="*/ 1187067 h 6858000"/>
              <a:gd name="connsiteX3315" fmla="*/ 3303187 w 6530564"/>
              <a:gd name="connsiteY3315" fmla="*/ 1182078 h 6858000"/>
              <a:gd name="connsiteX3316" fmla="*/ 3326541 w 6530564"/>
              <a:gd name="connsiteY3316" fmla="*/ 1177088 h 6858000"/>
              <a:gd name="connsiteX3317" fmla="*/ 3334885 w 6530564"/>
              <a:gd name="connsiteY3317" fmla="*/ 1170421 h 6858000"/>
              <a:gd name="connsiteX3318" fmla="*/ 3325543 w 6530564"/>
              <a:gd name="connsiteY3318" fmla="*/ 1172418 h 6858000"/>
              <a:gd name="connsiteX3319" fmla="*/ 3306859 w 6530564"/>
              <a:gd name="connsiteY3319" fmla="*/ 1176409 h 6858000"/>
              <a:gd name="connsiteX3320" fmla="*/ 3312209 w 6530564"/>
              <a:gd name="connsiteY3320" fmla="*/ 1155729 h 6858000"/>
              <a:gd name="connsiteX3321" fmla="*/ 3311211 w 6530564"/>
              <a:gd name="connsiteY3321" fmla="*/ 1151058 h 6858000"/>
              <a:gd name="connsiteX3322" fmla="*/ 3320555 w 6530564"/>
              <a:gd name="connsiteY3322" fmla="*/ 1149062 h 6858000"/>
              <a:gd name="connsiteX3323" fmla="*/ 3324227 w 6530564"/>
              <a:gd name="connsiteY3323" fmla="*/ 1143393 h 6858000"/>
              <a:gd name="connsiteX3324" fmla="*/ 3318557 w 6530564"/>
              <a:gd name="connsiteY3324" fmla="*/ 1139720 h 6858000"/>
              <a:gd name="connsiteX3325" fmla="*/ 3323230 w 6530564"/>
              <a:gd name="connsiteY3325" fmla="*/ 1138722 h 6858000"/>
              <a:gd name="connsiteX3326" fmla="*/ 3402637 w 6530564"/>
              <a:gd name="connsiteY3326" fmla="*/ 1121757 h 6858000"/>
              <a:gd name="connsiteX3327" fmla="*/ 3348580 w 6530564"/>
              <a:gd name="connsiteY3327" fmla="*/ 1143073 h 6858000"/>
              <a:gd name="connsiteX3328" fmla="*/ 3343909 w 6530564"/>
              <a:gd name="connsiteY3328" fmla="*/ 1144072 h 6858000"/>
              <a:gd name="connsiteX3329" fmla="*/ 3325225 w 6530564"/>
              <a:gd name="connsiteY3329" fmla="*/ 1148063 h 6858000"/>
              <a:gd name="connsiteX3330" fmla="*/ 3321552 w 6530564"/>
              <a:gd name="connsiteY3330" fmla="*/ 1153733 h 6858000"/>
              <a:gd name="connsiteX3331" fmla="*/ 3327221 w 6530564"/>
              <a:gd name="connsiteY3331" fmla="*/ 1157406 h 6858000"/>
              <a:gd name="connsiteX3332" fmla="*/ 3331892 w 6530564"/>
              <a:gd name="connsiteY3332" fmla="*/ 1156408 h 6858000"/>
              <a:gd name="connsiteX3333" fmla="*/ 3335565 w 6530564"/>
              <a:gd name="connsiteY3333" fmla="*/ 1150740 h 6858000"/>
              <a:gd name="connsiteX3334" fmla="*/ 3340236 w 6530564"/>
              <a:gd name="connsiteY3334" fmla="*/ 1149741 h 6858000"/>
              <a:gd name="connsiteX3335" fmla="*/ 3358920 w 6530564"/>
              <a:gd name="connsiteY3335" fmla="*/ 1145750 h 6858000"/>
              <a:gd name="connsiteX3336" fmla="*/ 3369260 w 6530564"/>
              <a:gd name="connsiteY3336" fmla="*/ 1148425 h 6858000"/>
              <a:gd name="connsiteX3337" fmla="*/ 3402955 w 6530564"/>
              <a:gd name="connsiteY3337" fmla="*/ 1146109 h 6858000"/>
              <a:gd name="connsiteX3338" fmla="*/ 3405630 w 6530564"/>
              <a:gd name="connsiteY3338" fmla="*/ 1135769 h 6858000"/>
              <a:gd name="connsiteX3339" fmla="*/ 3415970 w 6530564"/>
              <a:gd name="connsiteY3339" fmla="*/ 1138446 h 6858000"/>
              <a:gd name="connsiteX3340" fmla="*/ 3438328 w 6530564"/>
              <a:gd name="connsiteY3340" fmla="*/ 1128784 h 6858000"/>
              <a:gd name="connsiteX3341" fmla="*/ 3471025 w 6530564"/>
              <a:gd name="connsiteY3341" fmla="*/ 1121798 h 6858000"/>
              <a:gd name="connsiteX3342" fmla="*/ 3474697 w 6530564"/>
              <a:gd name="connsiteY3342" fmla="*/ 1116129 h 6858000"/>
              <a:gd name="connsiteX3343" fmla="*/ 3490707 w 6530564"/>
              <a:gd name="connsiteY3343" fmla="*/ 1122479 h 6858000"/>
              <a:gd name="connsiteX3344" fmla="*/ 3526079 w 6530564"/>
              <a:gd name="connsiteY3344" fmla="*/ 1105153 h 6858000"/>
              <a:gd name="connsiteX3345" fmla="*/ 3569117 w 6530564"/>
              <a:gd name="connsiteY3345" fmla="*/ 1100842 h 6858000"/>
              <a:gd name="connsiteX3346" fmla="*/ 3583129 w 6530564"/>
              <a:gd name="connsiteY3346" fmla="*/ 1097849 h 6858000"/>
              <a:gd name="connsiteX3347" fmla="*/ 3613152 w 6530564"/>
              <a:gd name="connsiteY3347" fmla="*/ 1101202 h 6858000"/>
              <a:gd name="connsiteX3348" fmla="*/ 3706573 w 6530564"/>
              <a:gd name="connsiteY3348" fmla="*/ 1081242 h 6858000"/>
              <a:gd name="connsiteX3349" fmla="*/ 3708908 w 6530564"/>
              <a:gd name="connsiteY3349" fmla="*/ 1080744 h 6858000"/>
              <a:gd name="connsiteX3350" fmla="*/ 3725257 w 6530564"/>
              <a:gd name="connsiteY3350" fmla="*/ 1077251 h 6858000"/>
              <a:gd name="connsiteX3351" fmla="*/ 3729928 w 6530564"/>
              <a:gd name="connsiteY3351" fmla="*/ 1076254 h 6858000"/>
              <a:gd name="connsiteX3352" fmla="*/ 3739269 w 6530564"/>
              <a:gd name="connsiteY3352" fmla="*/ 1074258 h 6858000"/>
              <a:gd name="connsiteX3353" fmla="*/ 3866705 w 6530564"/>
              <a:gd name="connsiteY3353" fmla="*/ 1076336 h 6858000"/>
              <a:gd name="connsiteX3354" fmla="*/ 3919084 w 6530564"/>
              <a:gd name="connsiteY3354" fmla="*/ 1070031 h 6858000"/>
              <a:gd name="connsiteX3355" fmla="*/ 3951782 w 6530564"/>
              <a:gd name="connsiteY3355" fmla="*/ 1063046 h 6858000"/>
              <a:gd name="connsiteX3356" fmla="*/ 3943436 w 6530564"/>
              <a:gd name="connsiteY3356" fmla="*/ 1069713 h 6858000"/>
              <a:gd name="connsiteX3357" fmla="*/ 4000821 w 6530564"/>
              <a:gd name="connsiteY3357" fmla="*/ 1061115 h 6858000"/>
              <a:gd name="connsiteX3358" fmla="*/ 4059509 w 6530564"/>
              <a:gd name="connsiteY3358" fmla="*/ 1058914 h 6858000"/>
              <a:gd name="connsiteX3359" fmla="*/ 4065917 w 6530564"/>
              <a:gd name="connsiteY3359" fmla="*/ 1060029 h 6858000"/>
              <a:gd name="connsiteX3360" fmla="*/ 4081891 w 6530564"/>
              <a:gd name="connsiteY3360" fmla="*/ 1054786 h 6858000"/>
              <a:gd name="connsiteX3361" fmla="*/ 3073381 w 6530564"/>
              <a:gd name="connsiteY3361" fmla="*/ 1003429 h 6858000"/>
              <a:gd name="connsiteX3362" fmla="*/ 3075110 w 6530564"/>
              <a:gd name="connsiteY3362" fmla="*/ 1006131 h 6858000"/>
              <a:gd name="connsiteX3363" fmla="*/ 3070439 w 6530564"/>
              <a:gd name="connsiteY3363" fmla="*/ 1007129 h 6858000"/>
              <a:gd name="connsiteX3364" fmla="*/ 3062096 w 6530564"/>
              <a:gd name="connsiteY3364" fmla="*/ 1013796 h 6858000"/>
              <a:gd name="connsiteX3365" fmla="*/ 3066767 w 6530564"/>
              <a:gd name="connsiteY3365" fmla="*/ 1012799 h 6858000"/>
              <a:gd name="connsiteX3366" fmla="*/ 3071437 w 6530564"/>
              <a:gd name="connsiteY3366" fmla="*/ 1011800 h 6858000"/>
              <a:gd name="connsiteX3367" fmla="*/ 2960649 w 6530564"/>
              <a:gd name="connsiteY3367" fmla="*/ 1064775 h 6858000"/>
              <a:gd name="connsiteX3368" fmla="*/ 2925558 w 6530564"/>
              <a:gd name="connsiteY3368" fmla="*/ 1075554 h 6858000"/>
              <a:gd name="connsiteX3369" fmla="*/ 2899162 w 6530564"/>
              <a:gd name="connsiteY3369" fmla="*/ 1086428 h 6858000"/>
              <a:gd name="connsiteX3370" fmla="*/ 2903371 w 6530564"/>
              <a:gd name="connsiteY3370" fmla="*/ 1080657 h 6858000"/>
              <a:gd name="connsiteX3371" fmla="*/ 2939957 w 6530564"/>
              <a:gd name="connsiteY3371" fmla="*/ 1052562 h 6858000"/>
              <a:gd name="connsiteX3372" fmla="*/ 5800514 w 6530564"/>
              <a:gd name="connsiteY3372" fmla="*/ 966736 h 6858000"/>
              <a:gd name="connsiteX3373" fmla="*/ 5823561 w 6530564"/>
              <a:gd name="connsiteY3373" fmla="*/ 985857 h 6858000"/>
              <a:gd name="connsiteX3374" fmla="*/ 5812369 w 6530564"/>
              <a:gd name="connsiteY3374" fmla="*/ 974867 h 6858000"/>
              <a:gd name="connsiteX3375" fmla="*/ 4691065 w 6530564"/>
              <a:gd name="connsiteY3375" fmla="*/ 966665 h 6858000"/>
              <a:gd name="connsiteX3376" fmla="*/ 4697929 w 6530564"/>
              <a:gd name="connsiteY3376" fmla="*/ 967981 h 6858000"/>
              <a:gd name="connsiteX3377" fmla="*/ 4702739 w 6530564"/>
              <a:gd name="connsiteY3377" fmla="*/ 970365 h 6858000"/>
              <a:gd name="connsiteX3378" fmla="*/ 3242294 w 6530564"/>
              <a:gd name="connsiteY3378" fmla="*/ 953477 h 6858000"/>
              <a:gd name="connsiteX3379" fmla="*/ 3244945 w 6530564"/>
              <a:gd name="connsiteY3379" fmla="*/ 955193 h 6858000"/>
              <a:gd name="connsiteX3380" fmla="*/ 3222587 w 6530564"/>
              <a:gd name="connsiteY3380" fmla="*/ 964854 h 6858000"/>
              <a:gd name="connsiteX3381" fmla="*/ 3203904 w 6530564"/>
              <a:gd name="connsiteY3381" fmla="*/ 968846 h 6858000"/>
              <a:gd name="connsiteX3382" fmla="*/ 3166536 w 6530564"/>
              <a:gd name="connsiteY3382" fmla="*/ 976829 h 6858000"/>
              <a:gd name="connsiteX3383" fmla="*/ 3102137 w 6530564"/>
              <a:gd name="connsiteY3383" fmla="*/ 995473 h 6858000"/>
              <a:gd name="connsiteX3384" fmla="*/ 3102436 w 6530564"/>
              <a:gd name="connsiteY3384" fmla="*/ 994324 h 6858000"/>
              <a:gd name="connsiteX3385" fmla="*/ 3217427 w 6530564"/>
              <a:gd name="connsiteY3385" fmla="*/ 959472 h 6858000"/>
              <a:gd name="connsiteX3386" fmla="*/ 3376913 w 6530564"/>
              <a:gd name="connsiteY3386" fmla="*/ 922116 h 6858000"/>
              <a:gd name="connsiteX3387" fmla="*/ 3336954 w 6530564"/>
              <a:gd name="connsiteY3387" fmla="*/ 930653 h 6858000"/>
              <a:gd name="connsiteX3388" fmla="*/ 3358282 w 6530564"/>
              <a:gd name="connsiteY3388" fmla="*/ 925510 h 6858000"/>
              <a:gd name="connsiteX3389" fmla="*/ 3950309 w 6530564"/>
              <a:gd name="connsiteY3389" fmla="*/ 744665 h 6858000"/>
              <a:gd name="connsiteX3390" fmla="*/ 4826941 w 6530564"/>
              <a:gd name="connsiteY3390" fmla="*/ 861419 h 6858000"/>
              <a:gd name="connsiteX3391" fmla="*/ 4812928 w 6530564"/>
              <a:gd name="connsiteY3391" fmla="*/ 864412 h 6858000"/>
              <a:gd name="connsiteX3392" fmla="*/ 4895649 w 6530564"/>
              <a:gd name="connsiteY3392" fmla="*/ 885814 h 6858000"/>
              <a:gd name="connsiteX3393" fmla="*/ 4995377 w 6530564"/>
              <a:gd name="connsiteY3393" fmla="*/ 918233 h 6858000"/>
              <a:gd name="connsiteX3394" fmla="*/ 5053743 w 6530564"/>
              <a:gd name="connsiteY3394" fmla="*/ 939953 h 6858000"/>
              <a:gd name="connsiteX3395" fmla="*/ 5054740 w 6530564"/>
              <a:gd name="connsiteY3395" fmla="*/ 944624 h 6858000"/>
              <a:gd name="connsiteX3396" fmla="*/ 5059411 w 6530564"/>
              <a:gd name="connsiteY3396" fmla="*/ 943626 h 6858000"/>
              <a:gd name="connsiteX3397" fmla="*/ 5065081 w 6530564"/>
              <a:gd name="connsiteY3397" fmla="*/ 947300 h 6858000"/>
              <a:gd name="connsiteX3398" fmla="*/ 5075420 w 6530564"/>
              <a:gd name="connsiteY3398" fmla="*/ 949975 h 6858000"/>
              <a:gd name="connsiteX3399" fmla="*/ 5101770 w 6530564"/>
              <a:gd name="connsiteY3399" fmla="*/ 958998 h 6858000"/>
              <a:gd name="connsiteX3400" fmla="*/ 5187483 w 6530564"/>
              <a:gd name="connsiteY3400" fmla="*/ 994412 h 6858000"/>
              <a:gd name="connsiteX3401" fmla="*/ 5220499 w 6530564"/>
              <a:gd name="connsiteY3401" fmla="*/ 1011779 h 6858000"/>
              <a:gd name="connsiteX3402" fmla="*/ 5296871 w 6530564"/>
              <a:gd name="connsiteY3402" fmla="*/ 1049189 h 6858000"/>
              <a:gd name="connsiteX3403" fmla="*/ 5292201 w 6530564"/>
              <a:gd name="connsiteY3403" fmla="*/ 1050187 h 6858000"/>
              <a:gd name="connsiteX3404" fmla="*/ 5308209 w 6530564"/>
              <a:gd name="connsiteY3404" fmla="*/ 1056534 h 6858000"/>
              <a:gd name="connsiteX3405" fmla="*/ 6165817 w 6530564"/>
              <a:gd name="connsiteY3405" fmla="*/ 1732932 h 6858000"/>
              <a:gd name="connsiteX3406" fmla="*/ 6507308 w 6530564"/>
              <a:gd name="connsiteY3406" fmla="*/ 2262564 h 6858000"/>
              <a:gd name="connsiteX3407" fmla="*/ 6530564 w 6530564"/>
              <a:gd name="connsiteY3407" fmla="*/ 2317112 h 6858000"/>
              <a:gd name="connsiteX3408" fmla="*/ 6530564 w 6530564"/>
              <a:gd name="connsiteY3408" fmla="*/ 2701060 h 6858000"/>
              <a:gd name="connsiteX3409" fmla="*/ 6526175 w 6530564"/>
              <a:gd name="connsiteY3409" fmla="*/ 2710932 h 6858000"/>
              <a:gd name="connsiteX3410" fmla="*/ 6455513 w 6530564"/>
              <a:gd name="connsiteY3410" fmla="*/ 2608808 h 6858000"/>
              <a:gd name="connsiteX3411" fmla="*/ 6454515 w 6530564"/>
              <a:gd name="connsiteY3411" fmla="*/ 2604137 h 6858000"/>
              <a:gd name="connsiteX3412" fmla="*/ 6452519 w 6530564"/>
              <a:gd name="connsiteY3412" fmla="*/ 2594796 h 6858000"/>
              <a:gd name="connsiteX3413" fmla="*/ 6446850 w 6530564"/>
              <a:gd name="connsiteY3413" fmla="*/ 2591122 h 6858000"/>
              <a:gd name="connsiteX3414" fmla="*/ 6421859 w 6530564"/>
              <a:gd name="connsiteY3414" fmla="*/ 2542736 h 6858000"/>
              <a:gd name="connsiteX3415" fmla="*/ 6413197 w 6530564"/>
              <a:gd name="connsiteY3415" fmla="*/ 2525048 h 6858000"/>
              <a:gd name="connsiteX3416" fmla="*/ 6407529 w 6530564"/>
              <a:gd name="connsiteY3416" fmla="*/ 2521375 h 6858000"/>
              <a:gd name="connsiteX3417" fmla="*/ 6406530 w 6530564"/>
              <a:gd name="connsiteY3417" fmla="*/ 2516706 h 6858000"/>
              <a:gd name="connsiteX3418" fmla="*/ 6401861 w 6530564"/>
              <a:gd name="connsiteY3418" fmla="*/ 2517703 h 6858000"/>
              <a:gd name="connsiteX3419" fmla="*/ 6400861 w 6530564"/>
              <a:gd name="connsiteY3419" fmla="*/ 2513032 h 6858000"/>
              <a:gd name="connsiteX3420" fmla="*/ 6387528 w 6530564"/>
              <a:gd name="connsiteY3420" fmla="*/ 2496344 h 6858000"/>
              <a:gd name="connsiteX3421" fmla="*/ 6385850 w 6530564"/>
              <a:gd name="connsiteY3421" fmla="*/ 2511354 h 6858000"/>
              <a:gd name="connsiteX3422" fmla="*/ 6374513 w 6530564"/>
              <a:gd name="connsiteY3422" fmla="*/ 2504009 h 6858000"/>
              <a:gd name="connsiteX3423" fmla="*/ 6360859 w 6530564"/>
              <a:gd name="connsiteY3423" fmla="*/ 2462967 h 6858000"/>
              <a:gd name="connsiteX3424" fmla="*/ 6299541 w 6530564"/>
              <a:gd name="connsiteY3424" fmla="*/ 2358847 h 6858000"/>
              <a:gd name="connsiteX3425" fmla="*/ 6284212 w 6530564"/>
              <a:gd name="connsiteY3425" fmla="*/ 2332816 h 6858000"/>
              <a:gd name="connsiteX3426" fmla="*/ 6231556 w 6530564"/>
              <a:gd name="connsiteY3426" fmla="*/ 2246383 h 6858000"/>
              <a:gd name="connsiteX3427" fmla="*/ 6228563 w 6530564"/>
              <a:gd name="connsiteY3427" fmla="*/ 2232369 h 6858000"/>
              <a:gd name="connsiteX3428" fmla="*/ 6217223 w 6530564"/>
              <a:gd name="connsiteY3428" fmla="*/ 2225023 h 6858000"/>
              <a:gd name="connsiteX3429" fmla="*/ 6220897 w 6530564"/>
              <a:gd name="connsiteY3429" fmla="*/ 2219353 h 6858000"/>
              <a:gd name="connsiteX3430" fmla="*/ 6178901 w 6530564"/>
              <a:gd name="connsiteY3430" fmla="*/ 2159947 h 6858000"/>
              <a:gd name="connsiteX3431" fmla="*/ 6188241 w 6530564"/>
              <a:gd name="connsiteY3431" fmla="*/ 2157951 h 6858000"/>
              <a:gd name="connsiteX3432" fmla="*/ 6171235 w 6530564"/>
              <a:gd name="connsiteY3432" fmla="*/ 2146932 h 6858000"/>
              <a:gd name="connsiteX3433" fmla="*/ 6150235 w 6530564"/>
              <a:gd name="connsiteY3433" fmla="*/ 2117229 h 6858000"/>
              <a:gd name="connsiteX3434" fmla="*/ 6149238 w 6530564"/>
              <a:gd name="connsiteY3434" fmla="*/ 2112559 h 6858000"/>
              <a:gd name="connsiteX3435" fmla="*/ 6153909 w 6530564"/>
              <a:gd name="connsiteY3435" fmla="*/ 2111560 h 6858000"/>
              <a:gd name="connsiteX3436" fmla="*/ 6158581 w 6530564"/>
              <a:gd name="connsiteY3436" fmla="*/ 2110562 h 6858000"/>
              <a:gd name="connsiteX3437" fmla="*/ 6157582 w 6530564"/>
              <a:gd name="connsiteY3437" fmla="*/ 2105892 h 6858000"/>
              <a:gd name="connsiteX3438" fmla="*/ 6147921 w 6530564"/>
              <a:gd name="connsiteY3438" fmla="*/ 2083534 h 6858000"/>
              <a:gd name="connsiteX3439" fmla="*/ 6152592 w 6530564"/>
              <a:gd name="connsiteY3439" fmla="*/ 2082535 h 6858000"/>
              <a:gd name="connsiteX3440" fmla="*/ 6151595 w 6530564"/>
              <a:gd name="connsiteY3440" fmla="*/ 2077865 h 6858000"/>
              <a:gd name="connsiteX3441" fmla="*/ 6145926 w 6530564"/>
              <a:gd name="connsiteY3441" fmla="*/ 2074193 h 6858000"/>
              <a:gd name="connsiteX3442" fmla="*/ 6089597 w 6530564"/>
              <a:gd name="connsiteY3442" fmla="*/ 1993426 h 6858000"/>
              <a:gd name="connsiteX3443" fmla="*/ 6019255 w 6530564"/>
              <a:gd name="connsiteY3443" fmla="*/ 1915656 h 6858000"/>
              <a:gd name="connsiteX3444" fmla="*/ 5960249 w 6530564"/>
              <a:gd name="connsiteY3444" fmla="*/ 1845230 h 6858000"/>
              <a:gd name="connsiteX3445" fmla="*/ 5903921 w 6530564"/>
              <a:gd name="connsiteY3445" fmla="*/ 1764465 h 6858000"/>
              <a:gd name="connsiteX3446" fmla="*/ 5875576 w 6530564"/>
              <a:gd name="connsiteY3446" fmla="*/ 1746097 h 6858000"/>
              <a:gd name="connsiteX3447" fmla="*/ 5874577 w 6530564"/>
              <a:gd name="connsiteY3447" fmla="*/ 1741428 h 6858000"/>
              <a:gd name="connsiteX3448" fmla="*/ 5867911 w 6530564"/>
              <a:gd name="connsiteY3448" fmla="*/ 1733084 h 6858000"/>
              <a:gd name="connsiteX3449" fmla="*/ 5864239 w 6530564"/>
              <a:gd name="connsiteY3449" fmla="*/ 1738752 h 6858000"/>
              <a:gd name="connsiteX3450" fmla="*/ 5653531 w 6530564"/>
              <a:gd name="connsiteY3450" fmla="*/ 1529790 h 6858000"/>
              <a:gd name="connsiteX3451" fmla="*/ 5652531 w 6530564"/>
              <a:gd name="connsiteY3451" fmla="*/ 1525119 h 6858000"/>
              <a:gd name="connsiteX3452" fmla="*/ 5697884 w 6530564"/>
              <a:gd name="connsiteY3452" fmla="*/ 1554504 h 6858000"/>
              <a:gd name="connsiteX3453" fmla="*/ 5701875 w 6530564"/>
              <a:gd name="connsiteY3453" fmla="*/ 1573189 h 6858000"/>
              <a:gd name="connsiteX3454" fmla="*/ 5742557 w 6530564"/>
              <a:gd name="connsiteY3454" fmla="*/ 1603571 h 6858000"/>
              <a:gd name="connsiteX3455" fmla="*/ 5779564 w 6530564"/>
              <a:gd name="connsiteY3455" fmla="*/ 1639622 h 6858000"/>
              <a:gd name="connsiteX3456" fmla="*/ 5840245 w 6530564"/>
              <a:gd name="connsiteY3456" fmla="*/ 1695037 h 6858000"/>
              <a:gd name="connsiteX3457" fmla="*/ 5879249 w 6530564"/>
              <a:gd name="connsiteY3457" fmla="*/ 1740430 h 6858000"/>
              <a:gd name="connsiteX3458" fmla="*/ 5934262 w 6530564"/>
              <a:gd name="connsiteY3458" fmla="*/ 1792171 h 6858000"/>
              <a:gd name="connsiteX3459" fmla="*/ 5935261 w 6530564"/>
              <a:gd name="connsiteY3459" fmla="*/ 1796841 h 6858000"/>
              <a:gd name="connsiteX3460" fmla="*/ 5936258 w 6530564"/>
              <a:gd name="connsiteY3460" fmla="*/ 1801513 h 6858000"/>
              <a:gd name="connsiteX3461" fmla="*/ 5940929 w 6530564"/>
              <a:gd name="connsiteY3461" fmla="*/ 1800515 h 6858000"/>
              <a:gd name="connsiteX3462" fmla="*/ 5955260 w 6530564"/>
              <a:gd name="connsiteY3462" fmla="*/ 1821873 h 6858000"/>
              <a:gd name="connsiteX3463" fmla="*/ 5956259 w 6530564"/>
              <a:gd name="connsiteY3463" fmla="*/ 1826546 h 6858000"/>
              <a:gd name="connsiteX3464" fmla="*/ 5961927 w 6530564"/>
              <a:gd name="connsiteY3464" fmla="*/ 1830220 h 6858000"/>
              <a:gd name="connsiteX3465" fmla="*/ 5960930 w 6530564"/>
              <a:gd name="connsiteY3465" fmla="*/ 1825547 h 6858000"/>
              <a:gd name="connsiteX3466" fmla="*/ 6004605 w 6530564"/>
              <a:gd name="connsiteY3466" fmla="*/ 1869943 h 6858000"/>
              <a:gd name="connsiteX3467" fmla="*/ 5999933 w 6530564"/>
              <a:gd name="connsiteY3467" fmla="*/ 1870942 h 6858000"/>
              <a:gd name="connsiteX3468" fmla="*/ 6000931 w 6530564"/>
              <a:gd name="connsiteY3468" fmla="*/ 1875612 h 6858000"/>
              <a:gd name="connsiteX3469" fmla="*/ 6006601 w 6530564"/>
              <a:gd name="connsiteY3469" fmla="*/ 1879284 h 6858000"/>
              <a:gd name="connsiteX3470" fmla="*/ 6011271 w 6530564"/>
              <a:gd name="connsiteY3470" fmla="*/ 1878287 h 6858000"/>
              <a:gd name="connsiteX3471" fmla="*/ 6012269 w 6530564"/>
              <a:gd name="connsiteY3471" fmla="*/ 1882958 h 6858000"/>
              <a:gd name="connsiteX3472" fmla="*/ 6027599 w 6530564"/>
              <a:gd name="connsiteY3472" fmla="*/ 1908989 h 6858000"/>
              <a:gd name="connsiteX3473" fmla="*/ 6037939 w 6530564"/>
              <a:gd name="connsiteY3473" fmla="*/ 1911662 h 6858000"/>
              <a:gd name="connsiteX3474" fmla="*/ 6044605 w 6530564"/>
              <a:gd name="connsiteY3474" fmla="*/ 1920008 h 6858000"/>
              <a:gd name="connsiteX3475" fmla="*/ 6040933 w 6530564"/>
              <a:gd name="connsiteY3475" fmla="*/ 1925676 h 6858000"/>
              <a:gd name="connsiteX3476" fmla="*/ 6046601 w 6530564"/>
              <a:gd name="connsiteY3476" fmla="*/ 1929349 h 6858000"/>
              <a:gd name="connsiteX3477" fmla="*/ 6052271 w 6530564"/>
              <a:gd name="connsiteY3477" fmla="*/ 1933023 h 6858000"/>
              <a:gd name="connsiteX3478" fmla="*/ 6084607 w 6530564"/>
              <a:gd name="connsiteY3478" fmla="*/ 1970071 h 6858000"/>
              <a:gd name="connsiteX3479" fmla="*/ 6075945 w 6530564"/>
              <a:gd name="connsiteY3479" fmla="*/ 1952386 h 6858000"/>
              <a:gd name="connsiteX3480" fmla="*/ 6057939 w 6530564"/>
              <a:gd name="connsiteY3480" fmla="*/ 1936695 h 6858000"/>
              <a:gd name="connsiteX3481" fmla="*/ 6056941 w 6530564"/>
              <a:gd name="connsiteY3481" fmla="*/ 1932024 h 6858000"/>
              <a:gd name="connsiteX3482" fmla="*/ 6055943 w 6530564"/>
              <a:gd name="connsiteY3482" fmla="*/ 1927353 h 6858000"/>
              <a:gd name="connsiteX3483" fmla="*/ 6049276 w 6530564"/>
              <a:gd name="connsiteY3483" fmla="*/ 1919009 h 6858000"/>
              <a:gd name="connsiteX3484" fmla="*/ 6017937 w 6530564"/>
              <a:gd name="connsiteY3484" fmla="*/ 1886631 h 6858000"/>
              <a:gd name="connsiteX3485" fmla="*/ 6015942 w 6530564"/>
              <a:gd name="connsiteY3485" fmla="*/ 1877290 h 6858000"/>
              <a:gd name="connsiteX3486" fmla="*/ 6014943 w 6530564"/>
              <a:gd name="connsiteY3486" fmla="*/ 1872617 h 6858000"/>
              <a:gd name="connsiteX3487" fmla="*/ 6012949 w 6530564"/>
              <a:gd name="connsiteY3487" fmla="*/ 1863276 h 6858000"/>
              <a:gd name="connsiteX3488" fmla="*/ 6008279 w 6530564"/>
              <a:gd name="connsiteY3488" fmla="*/ 1864274 h 6858000"/>
              <a:gd name="connsiteX3489" fmla="*/ 6003605 w 6530564"/>
              <a:gd name="connsiteY3489" fmla="*/ 1865272 h 6858000"/>
              <a:gd name="connsiteX3490" fmla="*/ 5985601 w 6530564"/>
              <a:gd name="connsiteY3490" fmla="*/ 1849581 h 6858000"/>
              <a:gd name="connsiteX3491" fmla="*/ 5965600 w 6530564"/>
              <a:gd name="connsiteY3491" fmla="*/ 1824550 h 6858000"/>
              <a:gd name="connsiteX3492" fmla="*/ 5964603 w 6530564"/>
              <a:gd name="connsiteY3492" fmla="*/ 1819878 h 6858000"/>
              <a:gd name="connsiteX3493" fmla="*/ 5963605 w 6530564"/>
              <a:gd name="connsiteY3493" fmla="*/ 1815208 h 6858000"/>
              <a:gd name="connsiteX3494" fmla="*/ 5945599 w 6530564"/>
              <a:gd name="connsiteY3494" fmla="*/ 1799518 h 6858000"/>
              <a:gd name="connsiteX3495" fmla="*/ 5951268 w 6530564"/>
              <a:gd name="connsiteY3495" fmla="*/ 1803190 h 6858000"/>
              <a:gd name="connsiteX3496" fmla="*/ 5950271 w 6530564"/>
              <a:gd name="connsiteY3496" fmla="*/ 1798519 h 6858000"/>
              <a:gd name="connsiteX3497" fmla="*/ 5944601 w 6530564"/>
              <a:gd name="connsiteY3497" fmla="*/ 1794847 h 6858000"/>
              <a:gd name="connsiteX3498" fmla="*/ 5938933 w 6530564"/>
              <a:gd name="connsiteY3498" fmla="*/ 1791173 h 6858000"/>
              <a:gd name="connsiteX3499" fmla="*/ 5931269 w 6530564"/>
              <a:gd name="connsiteY3499" fmla="*/ 1778159 h 6858000"/>
              <a:gd name="connsiteX3500" fmla="*/ 5919929 w 6530564"/>
              <a:gd name="connsiteY3500" fmla="*/ 1770811 h 6858000"/>
              <a:gd name="connsiteX3501" fmla="*/ 5930269 w 6530564"/>
              <a:gd name="connsiteY3501" fmla="*/ 1773488 h 6858000"/>
              <a:gd name="connsiteX3502" fmla="*/ 5913263 w 6530564"/>
              <a:gd name="connsiteY3502" fmla="*/ 1762468 h 6858000"/>
              <a:gd name="connsiteX3503" fmla="*/ 5894260 w 6530564"/>
              <a:gd name="connsiteY3503" fmla="*/ 1742107 h 6858000"/>
              <a:gd name="connsiteX3504" fmla="*/ 5908274 w 6530564"/>
              <a:gd name="connsiteY3504" fmla="*/ 1739112 h 6858000"/>
              <a:gd name="connsiteX3505" fmla="*/ 5885598 w 6530564"/>
              <a:gd name="connsiteY3505" fmla="*/ 1724422 h 6858000"/>
              <a:gd name="connsiteX3506" fmla="*/ 5890269 w 6530564"/>
              <a:gd name="connsiteY3506" fmla="*/ 1723424 h 6858000"/>
              <a:gd name="connsiteX3507" fmla="*/ 5889272 w 6530564"/>
              <a:gd name="connsiteY3507" fmla="*/ 1718751 h 6858000"/>
              <a:gd name="connsiteX3508" fmla="*/ 5883602 w 6530564"/>
              <a:gd name="connsiteY3508" fmla="*/ 1715079 h 6858000"/>
              <a:gd name="connsiteX3509" fmla="*/ 5866595 w 6530564"/>
              <a:gd name="connsiteY3509" fmla="*/ 1704060 h 6858000"/>
              <a:gd name="connsiteX3510" fmla="*/ 5859927 w 6530564"/>
              <a:gd name="connsiteY3510" fmla="*/ 1695716 h 6858000"/>
              <a:gd name="connsiteX3511" fmla="*/ 5854258 w 6530564"/>
              <a:gd name="connsiteY3511" fmla="*/ 1692043 h 6858000"/>
              <a:gd name="connsiteX3512" fmla="*/ 5855257 w 6530564"/>
              <a:gd name="connsiteY3512" fmla="*/ 1696713 h 6858000"/>
              <a:gd name="connsiteX3513" fmla="*/ 5856255 w 6530564"/>
              <a:gd name="connsiteY3513" fmla="*/ 1701383 h 6858000"/>
              <a:gd name="connsiteX3514" fmla="*/ 5824917 w 6530564"/>
              <a:gd name="connsiteY3514" fmla="*/ 1669006 h 6858000"/>
              <a:gd name="connsiteX3515" fmla="*/ 5839927 w 6530564"/>
              <a:gd name="connsiteY3515" fmla="*/ 1670683 h 6858000"/>
              <a:gd name="connsiteX3516" fmla="*/ 5805913 w 6530564"/>
              <a:gd name="connsiteY3516" fmla="*/ 1648645 h 6858000"/>
              <a:gd name="connsiteX3517" fmla="*/ 5774575 w 6530564"/>
              <a:gd name="connsiteY3517" fmla="*/ 1616266 h 6858000"/>
              <a:gd name="connsiteX3518" fmla="*/ 5780245 w 6530564"/>
              <a:gd name="connsiteY3518" fmla="*/ 1619939 h 6858000"/>
              <a:gd name="connsiteX3519" fmla="*/ 5784915 w 6530564"/>
              <a:gd name="connsiteY3519" fmla="*/ 1618942 h 6858000"/>
              <a:gd name="connsiteX3520" fmla="*/ 5789585 w 6530564"/>
              <a:gd name="connsiteY3520" fmla="*/ 1617944 h 6858000"/>
              <a:gd name="connsiteX3521" fmla="*/ 5782919 w 6530564"/>
              <a:gd name="connsiteY3521" fmla="*/ 1609599 h 6858000"/>
              <a:gd name="connsiteX3522" fmla="*/ 5787589 w 6530564"/>
              <a:gd name="connsiteY3522" fmla="*/ 1608602 h 6858000"/>
              <a:gd name="connsiteX3523" fmla="*/ 5793259 w 6530564"/>
              <a:gd name="connsiteY3523" fmla="*/ 1612274 h 6858000"/>
              <a:gd name="connsiteX3524" fmla="*/ 5794257 w 6530564"/>
              <a:gd name="connsiteY3524" fmla="*/ 1616947 h 6858000"/>
              <a:gd name="connsiteX3525" fmla="*/ 5799925 w 6530564"/>
              <a:gd name="connsiteY3525" fmla="*/ 1620620 h 6858000"/>
              <a:gd name="connsiteX3526" fmla="*/ 5805595 w 6530564"/>
              <a:gd name="connsiteY3526" fmla="*/ 1624292 h 6858000"/>
              <a:gd name="connsiteX3527" fmla="*/ 5930950 w 6530564"/>
              <a:gd name="connsiteY3527" fmla="*/ 1753805 h 6858000"/>
              <a:gd name="connsiteX3528" fmla="*/ 5931947 w 6530564"/>
              <a:gd name="connsiteY3528" fmla="*/ 1758476 h 6858000"/>
              <a:gd name="connsiteX3529" fmla="*/ 5937615 w 6530564"/>
              <a:gd name="connsiteY3529" fmla="*/ 1762149 h 6858000"/>
              <a:gd name="connsiteX3530" fmla="*/ 5962289 w 6530564"/>
              <a:gd name="connsiteY3530" fmla="*/ 1786184 h 6858000"/>
              <a:gd name="connsiteX3531" fmla="*/ 5969953 w 6530564"/>
              <a:gd name="connsiteY3531" fmla="*/ 1799200 h 6858000"/>
              <a:gd name="connsiteX3532" fmla="*/ 5975622 w 6530564"/>
              <a:gd name="connsiteY3532" fmla="*/ 1802871 h 6858000"/>
              <a:gd name="connsiteX3533" fmla="*/ 6005963 w 6530564"/>
              <a:gd name="connsiteY3533" fmla="*/ 1830579 h 6858000"/>
              <a:gd name="connsiteX3534" fmla="*/ 6011631 w 6530564"/>
              <a:gd name="connsiteY3534" fmla="*/ 1834252 h 6858000"/>
              <a:gd name="connsiteX3535" fmla="*/ 6014625 w 6530564"/>
              <a:gd name="connsiteY3535" fmla="*/ 1848264 h 6858000"/>
              <a:gd name="connsiteX3536" fmla="*/ 6044965 w 6530564"/>
              <a:gd name="connsiteY3536" fmla="*/ 1875972 h 6858000"/>
              <a:gd name="connsiteX3537" fmla="*/ 6050635 w 6530564"/>
              <a:gd name="connsiteY3537" fmla="*/ 1879645 h 6858000"/>
              <a:gd name="connsiteX3538" fmla="*/ 6051633 w 6530564"/>
              <a:gd name="connsiteY3538" fmla="*/ 1884316 h 6858000"/>
              <a:gd name="connsiteX3539" fmla="*/ 6140299 w 6530564"/>
              <a:gd name="connsiteY3539" fmla="*/ 2002132 h 6858000"/>
              <a:gd name="connsiteX3540" fmla="*/ 6152635 w 6530564"/>
              <a:gd name="connsiteY3540" fmla="*/ 2014149 h 6858000"/>
              <a:gd name="connsiteX3541" fmla="*/ 6155629 w 6530564"/>
              <a:gd name="connsiteY3541" fmla="*/ 2028161 h 6858000"/>
              <a:gd name="connsiteX3542" fmla="*/ 6164971 w 6530564"/>
              <a:gd name="connsiteY3542" fmla="*/ 2026165 h 6858000"/>
              <a:gd name="connsiteX3543" fmla="*/ 6171637 w 6530564"/>
              <a:gd name="connsiteY3543" fmla="*/ 2034509 h 6858000"/>
              <a:gd name="connsiteX3544" fmla="*/ 6208963 w 6530564"/>
              <a:gd name="connsiteY3544" fmla="*/ 2094914 h 6858000"/>
              <a:gd name="connsiteX3545" fmla="*/ 6209963 w 6530564"/>
              <a:gd name="connsiteY3545" fmla="*/ 2099585 h 6858000"/>
              <a:gd name="connsiteX3546" fmla="*/ 6211957 w 6530564"/>
              <a:gd name="connsiteY3546" fmla="*/ 2108927 h 6858000"/>
              <a:gd name="connsiteX3547" fmla="*/ 6216629 w 6530564"/>
              <a:gd name="connsiteY3547" fmla="*/ 2107929 h 6858000"/>
              <a:gd name="connsiteX3548" fmla="*/ 6264295 w 6530564"/>
              <a:gd name="connsiteY3548" fmla="*/ 2171008 h 6858000"/>
              <a:gd name="connsiteX3549" fmla="*/ 6321623 w 6530564"/>
              <a:gd name="connsiteY3549" fmla="*/ 2256444 h 6858000"/>
              <a:gd name="connsiteX3550" fmla="*/ 6351284 w 6530564"/>
              <a:gd name="connsiteY3550" fmla="*/ 2303835 h 6858000"/>
              <a:gd name="connsiteX3551" fmla="*/ 6352281 w 6530564"/>
              <a:gd name="connsiteY3551" fmla="*/ 2308505 h 6858000"/>
              <a:gd name="connsiteX3552" fmla="*/ 6353279 w 6530564"/>
              <a:gd name="connsiteY3552" fmla="*/ 2313176 h 6858000"/>
              <a:gd name="connsiteX3553" fmla="*/ 6354277 w 6530564"/>
              <a:gd name="connsiteY3553" fmla="*/ 2317847 h 6858000"/>
              <a:gd name="connsiteX3554" fmla="*/ 6358947 w 6530564"/>
              <a:gd name="connsiteY3554" fmla="*/ 2316850 h 6858000"/>
              <a:gd name="connsiteX3555" fmla="*/ 6369289 w 6530564"/>
              <a:gd name="connsiteY3555" fmla="*/ 2319526 h 6858000"/>
              <a:gd name="connsiteX3556" fmla="*/ 6385616 w 6530564"/>
              <a:gd name="connsiteY3556" fmla="*/ 2350226 h 6858000"/>
              <a:gd name="connsiteX3557" fmla="*/ 6396955 w 6530564"/>
              <a:gd name="connsiteY3557" fmla="*/ 2357572 h 6858000"/>
              <a:gd name="connsiteX3558" fmla="*/ 6361624 w 6530564"/>
              <a:gd name="connsiteY3558" fmla="*/ 2306510 h 6858000"/>
              <a:gd name="connsiteX3559" fmla="*/ 6359627 w 6530564"/>
              <a:gd name="connsiteY3559" fmla="*/ 2297168 h 6858000"/>
              <a:gd name="connsiteX3560" fmla="*/ 6353959 w 6530564"/>
              <a:gd name="connsiteY3560" fmla="*/ 2293494 h 6858000"/>
              <a:gd name="connsiteX3561" fmla="*/ 6314637 w 6530564"/>
              <a:gd name="connsiteY3561" fmla="*/ 2223747 h 6858000"/>
              <a:gd name="connsiteX3562" fmla="*/ 6212319 w 6530564"/>
              <a:gd name="connsiteY3562" fmla="*/ 2064893 h 6858000"/>
              <a:gd name="connsiteX3563" fmla="*/ 6107325 w 6530564"/>
              <a:gd name="connsiteY3563" fmla="*/ 1916375 h 6858000"/>
              <a:gd name="connsiteX3564" fmla="*/ 6088323 w 6530564"/>
              <a:gd name="connsiteY3564" fmla="*/ 1896015 h 6858000"/>
              <a:gd name="connsiteX3565" fmla="*/ 6007323 w 6530564"/>
              <a:gd name="connsiteY3565" fmla="*/ 1791215 h 6858000"/>
              <a:gd name="connsiteX3566" fmla="*/ 5975983 w 6530564"/>
              <a:gd name="connsiteY3566" fmla="*/ 1758836 h 6858000"/>
              <a:gd name="connsiteX3567" fmla="*/ 5907636 w 6530564"/>
              <a:gd name="connsiteY3567" fmla="*/ 1690407 h 6858000"/>
              <a:gd name="connsiteX3568" fmla="*/ 5789947 w 6530564"/>
              <a:gd name="connsiteY3568" fmla="*/ 1573908 h 6858000"/>
              <a:gd name="connsiteX3569" fmla="*/ 5761602 w 6530564"/>
              <a:gd name="connsiteY3569" fmla="*/ 1555544 h 6858000"/>
              <a:gd name="connsiteX3570" fmla="*/ 5729265 w 6530564"/>
              <a:gd name="connsiteY3570" fmla="*/ 1518494 h 6858000"/>
              <a:gd name="connsiteX3571" fmla="*/ 5718925 w 6530564"/>
              <a:gd name="connsiteY3571" fmla="*/ 1515819 h 6858000"/>
              <a:gd name="connsiteX3572" fmla="*/ 5658243 w 6530564"/>
              <a:gd name="connsiteY3572" fmla="*/ 1460405 h 6858000"/>
              <a:gd name="connsiteX3573" fmla="*/ 5637563 w 6530564"/>
              <a:gd name="connsiteY3573" fmla="*/ 1455055 h 6858000"/>
              <a:gd name="connsiteX3574" fmla="*/ 5624228 w 6530564"/>
              <a:gd name="connsiteY3574" fmla="*/ 1438365 h 6858000"/>
              <a:gd name="connsiteX3575" fmla="*/ 5452165 w 6530564"/>
              <a:gd name="connsiteY3575" fmla="*/ 1318832 h 6858000"/>
              <a:gd name="connsiteX3576" fmla="*/ 5377469 w 6530564"/>
              <a:gd name="connsiteY3576" fmla="*/ 1266412 h 6858000"/>
              <a:gd name="connsiteX3577" fmla="*/ 5334113 w 6530564"/>
              <a:gd name="connsiteY3577" fmla="*/ 1246370 h 6858000"/>
              <a:gd name="connsiteX3578" fmla="*/ 5321779 w 6530564"/>
              <a:gd name="connsiteY3578" fmla="*/ 1234352 h 6858000"/>
              <a:gd name="connsiteX3579" fmla="*/ 5300101 w 6530564"/>
              <a:gd name="connsiteY3579" fmla="*/ 1224331 h 6858000"/>
              <a:gd name="connsiteX3580" fmla="*/ 5299103 w 6530564"/>
              <a:gd name="connsiteY3580" fmla="*/ 1219660 h 6858000"/>
              <a:gd name="connsiteX3581" fmla="*/ 5325451 w 6530564"/>
              <a:gd name="connsiteY3581" fmla="*/ 1228683 h 6858000"/>
              <a:gd name="connsiteX3582" fmla="*/ 5326449 w 6530564"/>
              <a:gd name="connsiteY3582" fmla="*/ 1233354 h 6858000"/>
              <a:gd name="connsiteX3583" fmla="*/ 5336789 w 6530564"/>
              <a:gd name="connsiteY3583" fmla="*/ 1236030 h 6858000"/>
              <a:gd name="connsiteX3584" fmla="*/ 5341461 w 6530564"/>
              <a:gd name="connsiteY3584" fmla="*/ 1235032 h 6858000"/>
              <a:gd name="connsiteX3585" fmla="*/ 5347129 w 6530564"/>
              <a:gd name="connsiteY3585" fmla="*/ 1238705 h 6858000"/>
              <a:gd name="connsiteX3586" fmla="*/ 5351799 w 6530564"/>
              <a:gd name="connsiteY3586" fmla="*/ 1237706 h 6858000"/>
              <a:gd name="connsiteX3587" fmla="*/ 5384815 w 6530564"/>
              <a:gd name="connsiteY3587" fmla="*/ 1255074 h 6858000"/>
              <a:gd name="connsiteX3588" fmla="*/ 5390485 w 6530564"/>
              <a:gd name="connsiteY3588" fmla="*/ 1258747 h 6858000"/>
              <a:gd name="connsiteX3589" fmla="*/ 5395155 w 6530564"/>
              <a:gd name="connsiteY3589" fmla="*/ 1257748 h 6858000"/>
              <a:gd name="connsiteX3590" fmla="*/ 5396153 w 6530564"/>
              <a:gd name="connsiteY3590" fmla="*/ 1262419 h 6858000"/>
              <a:gd name="connsiteX3591" fmla="*/ 5392481 w 6530564"/>
              <a:gd name="connsiteY3591" fmla="*/ 1268089 h 6858000"/>
              <a:gd name="connsiteX3592" fmla="*/ 5416835 w 6530564"/>
              <a:gd name="connsiteY3592" fmla="*/ 1267768 h 6858000"/>
              <a:gd name="connsiteX3593" fmla="*/ 5457515 w 6530564"/>
              <a:gd name="connsiteY3593" fmla="*/ 1298152 h 6858000"/>
              <a:gd name="connsiteX3594" fmla="*/ 5452843 w 6530564"/>
              <a:gd name="connsiteY3594" fmla="*/ 1299151 h 6858000"/>
              <a:gd name="connsiteX3595" fmla="*/ 5458513 w 6530564"/>
              <a:gd name="connsiteY3595" fmla="*/ 1302825 h 6858000"/>
              <a:gd name="connsiteX3596" fmla="*/ 5443501 w 6530564"/>
              <a:gd name="connsiteY3596" fmla="*/ 1301145 h 6858000"/>
              <a:gd name="connsiteX3597" fmla="*/ 5469850 w 6530564"/>
              <a:gd name="connsiteY3597" fmla="*/ 1310170 h 6858000"/>
              <a:gd name="connsiteX3598" fmla="*/ 5476517 w 6530564"/>
              <a:gd name="connsiteY3598" fmla="*/ 1318514 h 6858000"/>
              <a:gd name="connsiteX3599" fmla="*/ 5482186 w 6530564"/>
              <a:gd name="connsiteY3599" fmla="*/ 1322188 h 6858000"/>
              <a:gd name="connsiteX3600" fmla="*/ 5485860 w 6530564"/>
              <a:gd name="connsiteY3600" fmla="*/ 1316519 h 6858000"/>
              <a:gd name="connsiteX3601" fmla="*/ 5519873 w 6530564"/>
              <a:gd name="connsiteY3601" fmla="*/ 1338556 h 6858000"/>
              <a:gd name="connsiteX3602" fmla="*/ 5525542 w 6530564"/>
              <a:gd name="connsiteY3602" fmla="*/ 1342228 h 6858000"/>
              <a:gd name="connsiteX3603" fmla="*/ 5530213 w 6530564"/>
              <a:gd name="connsiteY3603" fmla="*/ 1341231 h 6858000"/>
              <a:gd name="connsiteX3604" fmla="*/ 5637924 w 6530564"/>
              <a:gd name="connsiteY3604" fmla="*/ 1411021 h 6858000"/>
              <a:gd name="connsiteX3605" fmla="*/ 5645589 w 6530564"/>
              <a:gd name="connsiteY3605" fmla="*/ 1424035 h 6858000"/>
              <a:gd name="connsiteX3606" fmla="*/ 5655929 w 6530564"/>
              <a:gd name="connsiteY3606" fmla="*/ 1426710 h 6858000"/>
              <a:gd name="connsiteX3607" fmla="*/ 5738288 w 6530564"/>
              <a:gd name="connsiteY3607" fmla="*/ 1492145 h 6858000"/>
              <a:gd name="connsiteX3608" fmla="*/ 5821645 w 6530564"/>
              <a:gd name="connsiteY3608" fmla="*/ 1562252 h 6858000"/>
              <a:gd name="connsiteX3609" fmla="*/ 5829311 w 6530564"/>
              <a:gd name="connsiteY3609" fmla="*/ 1575267 h 6858000"/>
              <a:gd name="connsiteX3610" fmla="*/ 5832983 w 6530564"/>
              <a:gd name="connsiteY3610" fmla="*/ 1569599 h 6858000"/>
              <a:gd name="connsiteX3611" fmla="*/ 5876659 w 6530564"/>
              <a:gd name="connsiteY3611" fmla="*/ 1613995 h 6858000"/>
              <a:gd name="connsiteX3612" fmla="*/ 5906998 w 6530564"/>
              <a:gd name="connsiteY3612" fmla="*/ 1641700 h 6858000"/>
              <a:gd name="connsiteX3613" fmla="*/ 5956341 w 6530564"/>
              <a:gd name="connsiteY3613" fmla="*/ 1689770 h 6858000"/>
              <a:gd name="connsiteX3614" fmla="*/ 6019021 w 6530564"/>
              <a:gd name="connsiteY3614" fmla="*/ 1754527 h 6858000"/>
              <a:gd name="connsiteX3615" fmla="*/ 6021017 w 6530564"/>
              <a:gd name="connsiteY3615" fmla="*/ 1763868 h 6858000"/>
              <a:gd name="connsiteX3616" fmla="*/ 6085689 w 6530564"/>
              <a:gd name="connsiteY3616" fmla="*/ 1837968 h 6858000"/>
              <a:gd name="connsiteX3617" fmla="*/ 6097027 w 6530564"/>
              <a:gd name="connsiteY3617" fmla="*/ 1845313 h 6858000"/>
              <a:gd name="connsiteX3618" fmla="*/ 6124692 w 6530564"/>
              <a:gd name="connsiteY3618" fmla="*/ 1883360 h 6858000"/>
              <a:gd name="connsiteX3619" fmla="*/ 6148365 w 6530564"/>
              <a:gd name="connsiteY3619" fmla="*/ 1902723 h 6858000"/>
              <a:gd name="connsiteX3620" fmla="*/ 6207689 w 6530564"/>
              <a:gd name="connsiteY3620" fmla="*/ 1997502 h 6858000"/>
              <a:gd name="connsiteX3621" fmla="*/ 6292683 w 6530564"/>
              <a:gd name="connsiteY3621" fmla="*/ 2120986 h 6858000"/>
              <a:gd name="connsiteX3622" fmla="*/ 6319349 w 6530564"/>
              <a:gd name="connsiteY3622" fmla="*/ 2154362 h 6858000"/>
              <a:gd name="connsiteX3623" fmla="*/ 6313681 w 6530564"/>
              <a:gd name="connsiteY3623" fmla="*/ 2150689 h 6858000"/>
              <a:gd name="connsiteX3624" fmla="*/ 6343343 w 6530564"/>
              <a:gd name="connsiteY3624" fmla="*/ 2198078 h 6858000"/>
              <a:gd name="connsiteX3625" fmla="*/ 6346335 w 6530564"/>
              <a:gd name="connsiteY3625" fmla="*/ 2212090 h 6858000"/>
              <a:gd name="connsiteX3626" fmla="*/ 6424979 w 6530564"/>
              <a:gd name="connsiteY3626" fmla="*/ 2351584 h 6858000"/>
              <a:gd name="connsiteX3627" fmla="*/ 6420309 w 6530564"/>
              <a:gd name="connsiteY3627" fmla="*/ 2352581 h 6858000"/>
              <a:gd name="connsiteX3628" fmla="*/ 6421307 w 6530564"/>
              <a:gd name="connsiteY3628" fmla="*/ 2357252 h 6858000"/>
              <a:gd name="connsiteX3629" fmla="*/ 6426975 w 6530564"/>
              <a:gd name="connsiteY3629" fmla="*/ 2360926 h 6858000"/>
              <a:gd name="connsiteX3630" fmla="*/ 6451966 w 6530564"/>
              <a:gd name="connsiteY3630" fmla="*/ 2409313 h 6858000"/>
              <a:gd name="connsiteX3631" fmla="*/ 6452965 w 6530564"/>
              <a:gd name="connsiteY3631" fmla="*/ 2413983 h 6858000"/>
              <a:gd name="connsiteX3632" fmla="*/ 6453963 w 6530564"/>
              <a:gd name="connsiteY3632" fmla="*/ 2418656 h 6858000"/>
              <a:gd name="connsiteX3633" fmla="*/ 6458633 w 6530564"/>
              <a:gd name="connsiteY3633" fmla="*/ 2417657 h 6858000"/>
              <a:gd name="connsiteX3634" fmla="*/ 6457635 w 6530564"/>
              <a:gd name="connsiteY3634" fmla="*/ 2412986 h 6858000"/>
              <a:gd name="connsiteX3635" fmla="*/ 6466299 w 6530564"/>
              <a:gd name="connsiteY3635" fmla="*/ 2430673 h 6858000"/>
              <a:gd name="connsiteX3636" fmla="*/ 6475639 w 6530564"/>
              <a:gd name="connsiteY3636" fmla="*/ 2428676 h 6858000"/>
              <a:gd name="connsiteX3637" fmla="*/ 6467975 w 6530564"/>
              <a:gd name="connsiteY3637" fmla="*/ 2415661 h 6858000"/>
              <a:gd name="connsiteX3638" fmla="*/ 6472646 w 6530564"/>
              <a:gd name="connsiteY3638" fmla="*/ 2414663 h 6858000"/>
              <a:gd name="connsiteX3639" fmla="*/ 6445979 w 6530564"/>
              <a:gd name="connsiteY3639" fmla="*/ 2381288 h 6858000"/>
              <a:gd name="connsiteX3640" fmla="*/ 6443981 w 6530564"/>
              <a:gd name="connsiteY3640" fmla="*/ 2371946 h 6858000"/>
              <a:gd name="connsiteX3641" fmla="*/ 6442985 w 6530564"/>
              <a:gd name="connsiteY3641" fmla="*/ 2367276 h 6858000"/>
              <a:gd name="connsiteX3642" fmla="*/ 6441987 w 6530564"/>
              <a:gd name="connsiteY3642" fmla="*/ 2362603 h 6858000"/>
              <a:gd name="connsiteX3643" fmla="*/ 6437315 w 6530564"/>
              <a:gd name="connsiteY3643" fmla="*/ 2363602 h 6858000"/>
              <a:gd name="connsiteX3644" fmla="*/ 6435319 w 6530564"/>
              <a:gd name="connsiteY3644" fmla="*/ 2354259 h 6858000"/>
              <a:gd name="connsiteX3645" fmla="*/ 6445659 w 6530564"/>
              <a:gd name="connsiteY3645" fmla="*/ 2356934 h 6858000"/>
              <a:gd name="connsiteX3646" fmla="*/ 6437995 w 6530564"/>
              <a:gd name="connsiteY3646" fmla="*/ 2343919 h 6858000"/>
              <a:gd name="connsiteX3647" fmla="*/ 6436996 w 6530564"/>
              <a:gd name="connsiteY3647" fmla="*/ 2339248 h 6858000"/>
              <a:gd name="connsiteX3648" fmla="*/ 6435999 w 6530564"/>
              <a:gd name="connsiteY3648" fmla="*/ 2334578 h 6858000"/>
              <a:gd name="connsiteX3649" fmla="*/ 6435001 w 6530564"/>
              <a:gd name="connsiteY3649" fmla="*/ 2329906 h 6858000"/>
              <a:gd name="connsiteX3650" fmla="*/ 6426338 w 6530564"/>
              <a:gd name="connsiteY3650" fmla="*/ 2312220 h 6858000"/>
              <a:gd name="connsiteX3651" fmla="*/ 6420669 w 6530564"/>
              <a:gd name="connsiteY3651" fmla="*/ 2308548 h 6858000"/>
              <a:gd name="connsiteX3652" fmla="*/ 6396677 w 6530564"/>
              <a:gd name="connsiteY3652" fmla="*/ 2264832 h 6858000"/>
              <a:gd name="connsiteX3653" fmla="*/ 6394681 w 6530564"/>
              <a:gd name="connsiteY3653" fmla="*/ 2255488 h 6858000"/>
              <a:gd name="connsiteX3654" fmla="*/ 6390010 w 6530564"/>
              <a:gd name="connsiteY3654" fmla="*/ 2256487 h 6858000"/>
              <a:gd name="connsiteX3655" fmla="*/ 6367015 w 6530564"/>
              <a:gd name="connsiteY3655" fmla="*/ 2217441 h 6858000"/>
              <a:gd name="connsiteX3656" fmla="*/ 6362345 w 6530564"/>
              <a:gd name="connsiteY3656" fmla="*/ 2218440 h 6858000"/>
              <a:gd name="connsiteX3657" fmla="*/ 6361347 w 6530564"/>
              <a:gd name="connsiteY3657" fmla="*/ 2213768 h 6858000"/>
              <a:gd name="connsiteX3658" fmla="*/ 6366017 w 6530564"/>
              <a:gd name="connsiteY3658" fmla="*/ 2212771 h 6858000"/>
              <a:gd name="connsiteX3659" fmla="*/ 6365019 w 6530564"/>
              <a:gd name="connsiteY3659" fmla="*/ 2208100 h 6858000"/>
              <a:gd name="connsiteX3660" fmla="*/ 6359351 w 6530564"/>
              <a:gd name="connsiteY3660" fmla="*/ 2204426 h 6858000"/>
              <a:gd name="connsiteX3661" fmla="*/ 6289369 w 6530564"/>
              <a:gd name="connsiteY3661" fmla="*/ 2082620 h 6858000"/>
              <a:gd name="connsiteX3662" fmla="*/ 6272043 w 6530564"/>
              <a:gd name="connsiteY3662" fmla="*/ 2047249 h 6858000"/>
              <a:gd name="connsiteX3663" fmla="*/ 6253041 w 6530564"/>
              <a:gd name="connsiteY3663" fmla="*/ 2026887 h 6858000"/>
              <a:gd name="connsiteX3664" fmla="*/ 6226373 w 6530564"/>
              <a:gd name="connsiteY3664" fmla="*/ 1993510 h 6858000"/>
              <a:gd name="connsiteX3665" fmla="*/ 6037705 w 6530564"/>
              <a:gd name="connsiteY3665" fmla="*/ 1750534 h 6858000"/>
              <a:gd name="connsiteX3666" fmla="*/ 6040378 w 6530564"/>
              <a:gd name="connsiteY3666" fmla="*/ 1740194 h 6858000"/>
              <a:gd name="connsiteX3667" fmla="*/ 6041377 w 6530564"/>
              <a:gd name="connsiteY3667" fmla="*/ 1744864 h 6858000"/>
              <a:gd name="connsiteX3668" fmla="*/ 6046048 w 6530564"/>
              <a:gd name="connsiteY3668" fmla="*/ 1743867 h 6858000"/>
              <a:gd name="connsiteX3669" fmla="*/ 6039381 w 6530564"/>
              <a:gd name="connsiteY3669" fmla="*/ 1735524 h 6858000"/>
              <a:gd name="connsiteX3670" fmla="*/ 6036386 w 6530564"/>
              <a:gd name="connsiteY3670" fmla="*/ 1721512 h 6858000"/>
              <a:gd name="connsiteX3671" fmla="*/ 6014709 w 6530564"/>
              <a:gd name="connsiteY3671" fmla="*/ 1711489 h 6858000"/>
              <a:gd name="connsiteX3672" fmla="*/ 6013711 w 6530564"/>
              <a:gd name="connsiteY3672" fmla="*/ 1706819 h 6858000"/>
              <a:gd name="connsiteX3673" fmla="*/ 6008043 w 6530564"/>
              <a:gd name="connsiteY3673" fmla="*/ 1703145 h 6858000"/>
              <a:gd name="connsiteX3674" fmla="*/ 6007045 w 6530564"/>
              <a:gd name="connsiteY3674" fmla="*/ 1698475 h 6858000"/>
              <a:gd name="connsiteX3675" fmla="*/ 6002374 w 6530564"/>
              <a:gd name="connsiteY3675" fmla="*/ 1699472 h 6858000"/>
              <a:gd name="connsiteX3676" fmla="*/ 5995707 w 6530564"/>
              <a:gd name="connsiteY3676" fmla="*/ 1691128 h 6858000"/>
              <a:gd name="connsiteX3677" fmla="*/ 5981375 w 6530564"/>
              <a:gd name="connsiteY3677" fmla="*/ 1669769 h 6858000"/>
              <a:gd name="connsiteX3678" fmla="*/ 5986045 w 6530564"/>
              <a:gd name="connsiteY3678" fmla="*/ 1668771 h 6858000"/>
              <a:gd name="connsiteX3679" fmla="*/ 5991715 w 6530564"/>
              <a:gd name="connsiteY3679" fmla="*/ 1672443 h 6858000"/>
              <a:gd name="connsiteX3680" fmla="*/ 5985048 w 6530564"/>
              <a:gd name="connsiteY3680" fmla="*/ 1664101 h 6858000"/>
              <a:gd name="connsiteX3681" fmla="*/ 5979379 w 6530564"/>
              <a:gd name="connsiteY3681" fmla="*/ 1660427 h 6858000"/>
              <a:gd name="connsiteX3682" fmla="*/ 5961375 w 6530564"/>
              <a:gd name="connsiteY3682" fmla="*/ 1644738 h 6858000"/>
              <a:gd name="connsiteX3683" fmla="*/ 5960376 w 6530564"/>
              <a:gd name="connsiteY3683" fmla="*/ 1640066 h 6858000"/>
              <a:gd name="connsiteX3684" fmla="*/ 5953710 w 6530564"/>
              <a:gd name="connsiteY3684" fmla="*/ 1631721 h 6858000"/>
              <a:gd name="connsiteX3685" fmla="*/ 5949037 w 6530564"/>
              <a:gd name="connsiteY3685" fmla="*/ 1632720 h 6858000"/>
              <a:gd name="connsiteX3686" fmla="*/ 5950036 w 6530564"/>
              <a:gd name="connsiteY3686" fmla="*/ 1637390 h 6858000"/>
              <a:gd name="connsiteX3687" fmla="*/ 5942371 w 6530564"/>
              <a:gd name="connsiteY3687" fmla="*/ 1624375 h 6858000"/>
              <a:gd name="connsiteX3688" fmla="*/ 5933029 w 6530564"/>
              <a:gd name="connsiteY3688" fmla="*/ 1626372 h 6858000"/>
              <a:gd name="connsiteX3689" fmla="*/ 5931033 w 6530564"/>
              <a:gd name="connsiteY3689" fmla="*/ 1617029 h 6858000"/>
              <a:gd name="connsiteX3690" fmla="*/ 5925364 w 6530564"/>
              <a:gd name="connsiteY3690" fmla="*/ 1613357 h 6858000"/>
              <a:gd name="connsiteX3691" fmla="*/ 5924365 w 6530564"/>
              <a:gd name="connsiteY3691" fmla="*/ 1608686 h 6858000"/>
              <a:gd name="connsiteX3692" fmla="*/ 5919695 w 6530564"/>
              <a:gd name="connsiteY3692" fmla="*/ 1609683 h 6858000"/>
              <a:gd name="connsiteX3693" fmla="*/ 5920694 w 6530564"/>
              <a:gd name="connsiteY3693" fmla="*/ 1614354 h 6858000"/>
              <a:gd name="connsiteX3694" fmla="*/ 5872349 w 6530564"/>
              <a:gd name="connsiteY3694" fmla="*/ 1570957 h 6858000"/>
              <a:gd name="connsiteX3695" fmla="*/ 5865681 w 6530564"/>
              <a:gd name="connsiteY3695" fmla="*/ 1562613 h 6858000"/>
              <a:gd name="connsiteX3696" fmla="*/ 5855341 w 6530564"/>
              <a:gd name="connsiteY3696" fmla="*/ 1559936 h 6858000"/>
              <a:gd name="connsiteX3697" fmla="*/ 5856125 w 6530564"/>
              <a:gd name="connsiteY3697" fmla="*/ 1563605 h 6858000"/>
              <a:gd name="connsiteX3698" fmla="*/ 5841049 w 6530564"/>
              <a:gd name="connsiteY3698" fmla="*/ 1551621 h 6858000"/>
              <a:gd name="connsiteX3699" fmla="*/ 5789989 w 6530564"/>
              <a:gd name="connsiteY3699" fmla="*/ 1505521 h 6858000"/>
              <a:gd name="connsiteX3700" fmla="*/ 5763639 w 6530564"/>
              <a:gd name="connsiteY3700" fmla="*/ 1496497 h 6858000"/>
              <a:gd name="connsiteX3701" fmla="*/ 5760645 w 6530564"/>
              <a:gd name="connsiteY3701" fmla="*/ 1482484 h 6858000"/>
              <a:gd name="connsiteX3702" fmla="*/ 5731302 w 6530564"/>
              <a:gd name="connsiteY3702" fmla="*/ 1459447 h 6858000"/>
              <a:gd name="connsiteX3703" fmla="*/ 5710622 w 6530564"/>
              <a:gd name="connsiteY3703" fmla="*/ 1454098 h 6858000"/>
              <a:gd name="connsiteX3704" fmla="*/ 5691620 w 6530564"/>
              <a:gd name="connsiteY3704" fmla="*/ 1433737 h 6858000"/>
              <a:gd name="connsiteX3705" fmla="*/ 5696290 w 6530564"/>
              <a:gd name="connsiteY3705" fmla="*/ 1432738 h 6858000"/>
              <a:gd name="connsiteX3706" fmla="*/ 5706631 w 6530564"/>
              <a:gd name="connsiteY3706" fmla="*/ 1435415 h 6858000"/>
              <a:gd name="connsiteX3707" fmla="*/ 5699964 w 6530564"/>
              <a:gd name="connsiteY3707" fmla="*/ 1427069 h 6858000"/>
              <a:gd name="connsiteX3708" fmla="*/ 5694295 w 6530564"/>
              <a:gd name="connsiteY3708" fmla="*/ 1423397 h 6858000"/>
              <a:gd name="connsiteX3709" fmla="*/ 5710304 w 6530564"/>
              <a:gd name="connsiteY3709" fmla="*/ 1429745 h 6858000"/>
              <a:gd name="connsiteX3710" fmla="*/ 5687628 w 6530564"/>
              <a:gd name="connsiteY3710" fmla="*/ 1415053 h 6858000"/>
              <a:gd name="connsiteX3711" fmla="*/ 5681959 w 6530564"/>
              <a:gd name="connsiteY3711" fmla="*/ 1411380 h 6858000"/>
              <a:gd name="connsiteX3712" fmla="*/ 5665951 w 6530564"/>
              <a:gd name="connsiteY3712" fmla="*/ 1405033 h 6858000"/>
              <a:gd name="connsiteX3713" fmla="*/ 5672618 w 6530564"/>
              <a:gd name="connsiteY3713" fmla="*/ 1413376 h 6858000"/>
              <a:gd name="connsiteX3714" fmla="*/ 5673615 w 6530564"/>
              <a:gd name="connsiteY3714" fmla="*/ 1418048 h 6858000"/>
              <a:gd name="connsiteX3715" fmla="*/ 5656608 w 6530564"/>
              <a:gd name="connsiteY3715" fmla="*/ 1407029 h 6858000"/>
              <a:gd name="connsiteX3716" fmla="*/ 5665271 w 6530564"/>
              <a:gd name="connsiteY3716" fmla="*/ 1424714 h 6858000"/>
              <a:gd name="connsiteX3717" fmla="*/ 5639602 w 6530564"/>
              <a:gd name="connsiteY3717" fmla="*/ 1396008 h 6858000"/>
              <a:gd name="connsiteX3718" fmla="*/ 5645271 w 6530564"/>
              <a:gd name="connsiteY3718" fmla="*/ 1399681 h 6858000"/>
              <a:gd name="connsiteX3719" fmla="*/ 5654611 w 6530564"/>
              <a:gd name="connsiteY3719" fmla="*/ 1397686 h 6858000"/>
              <a:gd name="connsiteX3720" fmla="*/ 5643275 w 6530564"/>
              <a:gd name="connsiteY3720" fmla="*/ 1390339 h 6858000"/>
              <a:gd name="connsiteX3721" fmla="*/ 5642277 w 6530564"/>
              <a:gd name="connsiteY3721" fmla="*/ 1385668 h 6858000"/>
              <a:gd name="connsiteX3722" fmla="*/ 5641279 w 6530564"/>
              <a:gd name="connsiteY3722" fmla="*/ 1380997 h 6858000"/>
              <a:gd name="connsiteX3723" fmla="*/ 5645949 w 6530564"/>
              <a:gd name="connsiteY3723" fmla="*/ 1379999 h 6858000"/>
              <a:gd name="connsiteX3724" fmla="*/ 5635609 w 6530564"/>
              <a:gd name="connsiteY3724" fmla="*/ 1377324 h 6858000"/>
              <a:gd name="connsiteX3725" fmla="*/ 5629939 w 6530564"/>
              <a:gd name="connsiteY3725" fmla="*/ 1373652 h 6858000"/>
              <a:gd name="connsiteX3726" fmla="*/ 5616607 w 6530564"/>
              <a:gd name="connsiteY3726" fmla="*/ 1356962 h 6858000"/>
              <a:gd name="connsiteX3727" fmla="*/ 5622275 w 6530564"/>
              <a:gd name="connsiteY3727" fmla="*/ 1360636 h 6858000"/>
              <a:gd name="connsiteX3728" fmla="*/ 5632616 w 6530564"/>
              <a:gd name="connsiteY3728" fmla="*/ 1363312 h 6858000"/>
              <a:gd name="connsiteX3729" fmla="*/ 5620280 w 6530564"/>
              <a:gd name="connsiteY3729" fmla="*/ 1351294 h 6858000"/>
              <a:gd name="connsiteX3730" fmla="*/ 5614611 w 6530564"/>
              <a:gd name="connsiteY3730" fmla="*/ 1347621 h 6858000"/>
              <a:gd name="connsiteX3731" fmla="*/ 5608941 w 6530564"/>
              <a:gd name="connsiteY3731" fmla="*/ 1343947 h 6858000"/>
              <a:gd name="connsiteX3732" fmla="*/ 5599600 w 6530564"/>
              <a:gd name="connsiteY3732" fmla="*/ 1345945 h 6858000"/>
              <a:gd name="connsiteX3733" fmla="*/ 5606266 w 6530564"/>
              <a:gd name="connsiteY3733" fmla="*/ 1354289 h 6858000"/>
              <a:gd name="connsiteX3734" fmla="*/ 5610937 w 6530564"/>
              <a:gd name="connsiteY3734" fmla="*/ 1353291 h 6858000"/>
              <a:gd name="connsiteX3735" fmla="*/ 5616607 w 6530564"/>
              <a:gd name="connsiteY3735" fmla="*/ 1356962 h 6858000"/>
              <a:gd name="connsiteX3736" fmla="*/ 5625269 w 6530564"/>
              <a:gd name="connsiteY3736" fmla="*/ 1374649 h 6858000"/>
              <a:gd name="connsiteX3737" fmla="*/ 5619601 w 6530564"/>
              <a:gd name="connsiteY3737" fmla="*/ 1370976 h 6858000"/>
              <a:gd name="connsiteX3738" fmla="*/ 5620599 w 6530564"/>
              <a:gd name="connsiteY3738" fmla="*/ 1375646 h 6858000"/>
              <a:gd name="connsiteX3739" fmla="*/ 5621597 w 6530564"/>
              <a:gd name="connsiteY3739" fmla="*/ 1380318 h 6858000"/>
              <a:gd name="connsiteX3740" fmla="*/ 5626267 w 6530564"/>
              <a:gd name="connsiteY3740" fmla="*/ 1379320 h 6858000"/>
              <a:gd name="connsiteX3741" fmla="*/ 5631935 w 6530564"/>
              <a:gd name="connsiteY3741" fmla="*/ 1382993 h 6858000"/>
              <a:gd name="connsiteX3742" fmla="*/ 5627265 w 6530564"/>
              <a:gd name="connsiteY3742" fmla="*/ 1383992 h 6858000"/>
              <a:gd name="connsiteX3743" fmla="*/ 5632935 w 6530564"/>
              <a:gd name="connsiteY3743" fmla="*/ 1387664 h 6858000"/>
              <a:gd name="connsiteX3744" fmla="*/ 5633931 w 6530564"/>
              <a:gd name="connsiteY3744" fmla="*/ 1392336 h 6858000"/>
              <a:gd name="connsiteX3745" fmla="*/ 5594249 w 6530564"/>
              <a:gd name="connsiteY3745" fmla="*/ 1366625 h 6858000"/>
              <a:gd name="connsiteX3746" fmla="*/ 5598919 w 6530564"/>
              <a:gd name="connsiteY3746" fmla="*/ 1365626 h 6858000"/>
              <a:gd name="connsiteX3747" fmla="*/ 5603592 w 6530564"/>
              <a:gd name="connsiteY3747" fmla="*/ 1364627 h 6858000"/>
              <a:gd name="connsiteX3748" fmla="*/ 5597922 w 6530564"/>
              <a:gd name="connsiteY3748" fmla="*/ 1360955 h 6858000"/>
              <a:gd name="connsiteX3749" fmla="*/ 5593251 w 6530564"/>
              <a:gd name="connsiteY3749" fmla="*/ 1361952 h 6858000"/>
              <a:gd name="connsiteX3750" fmla="*/ 5587582 w 6530564"/>
              <a:gd name="connsiteY3750" fmla="*/ 1358280 h 6858000"/>
              <a:gd name="connsiteX3751" fmla="*/ 5574249 w 6530564"/>
              <a:gd name="connsiteY3751" fmla="*/ 1341592 h 6858000"/>
              <a:gd name="connsiteX3752" fmla="*/ 5573250 w 6530564"/>
              <a:gd name="connsiteY3752" fmla="*/ 1336920 h 6858000"/>
              <a:gd name="connsiteX3753" fmla="*/ 5567581 w 6530564"/>
              <a:gd name="connsiteY3753" fmla="*/ 1333248 h 6858000"/>
              <a:gd name="connsiteX3754" fmla="*/ 5562910 w 6530564"/>
              <a:gd name="connsiteY3754" fmla="*/ 1334245 h 6858000"/>
              <a:gd name="connsiteX3755" fmla="*/ 5563907 w 6530564"/>
              <a:gd name="connsiteY3755" fmla="*/ 1338917 h 6858000"/>
              <a:gd name="connsiteX3756" fmla="*/ 5540235 w 6530564"/>
              <a:gd name="connsiteY3756" fmla="*/ 1319554 h 6858000"/>
              <a:gd name="connsiteX3757" fmla="*/ 5534565 w 6530564"/>
              <a:gd name="connsiteY3757" fmla="*/ 1315881 h 6858000"/>
              <a:gd name="connsiteX3758" fmla="*/ 5529895 w 6530564"/>
              <a:gd name="connsiteY3758" fmla="*/ 1316878 h 6858000"/>
              <a:gd name="connsiteX3759" fmla="*/ 5530893 w 6530564"/>
              <a:gd name="connsiteY3759" fmla="*/ 1321550 h 6858000"/>
              <a:gd name="connsiteX3760" fmla="*/ 5510213 w 6530564"/>
              <a:gd name="connsiteY3760" fmla="*/ 1316199 h 6858000"/>
              <a:gd name="connsiteX3761" fmla="*/ 5439193 w 6530564"/>
              <a:gd name="connsiteY3761" fmla="*/ 1258110 h 6858000"/>
              <a:gd name="connsiteX3762" fmla="*/ 5435519 w 6530564"/>
              <a:gd name="connsiteY3762" fmla="*/ 1263778 h 6858000"/>
              <a:gd name="connsiteX3763" fmla="*/ 5434519 w 6530564"/>
              <a:gd name="connsiteY3763" fmla="*/ 1259108 h 6858000"/>
              <a:gd name="connsiteX3764" fmla="*/ 5428851 w 6530564"/>
              <a:gd name="connsiteY3764" fmla="*/ 1255434 h 6858000"/>
              <a:gd name="connsiteX3765" fmla="*/ 5429849 w 6530564"/>
              <a:gd name="connsiteY3765" fmla="*/ 1260105 h 6858000"/>
              <a:gd name="connsiteX3766" fmla="*/ 5392843 w 6530564"/>
              <a:gd name="connsiteY3766" fmla="*/ 1224054 h 6858000"/>
              <a:gd name="connsiteX3767" fmla="*/ 5384497 w 6530564"/>
              <a:gd name="connsiteY3767" fmla="*/ 1230720 h 6858000"/>
              <a:gd name="connsiteX3768" fmla="*/ 5377830 w 6530564"/>
              <a:gd name="connsiteY3768" fmla="*/ 1222376 h 6858000"/>
              <a:gd name="connsiteX3769" fmla="*/ 5366493 w 6530564"/>
              <a:gd name="connsiteY3769" fmla="*/ 1215031 h 6858000"/>
              <a:gd name="connsiteX3770" fmla="*/ 5371164 w 6530564"/>
              <a:gd name="connsiteY3770" fmla="*/ 1214034 h 6858000"/>
              <a:gd name="connsiteX3771" fmla="*/ 5370165 w 6530564"/>
              <a:gd name="connsiteY3771" fmla="*/ 1209361 h 6858000"/>
              <a:gd name="connsiteX3772" fmla="*/ 5359825 w 6530564"/>
              <a:gd name="connsiteY3772" fmla="*/ 1206686 h 6858000"/>
              <a:gd name="connsiteX3773" fmla="*/ 5355155 w 6530564"/>
              <a:gd name="connsiteY3773" fmla="*/ 1207685 h 6858000"/>
              <a:gd name="connsiteX3774" fmla="*/ 5316471 w 6530564"/>
              <a:gd name="connsiteY3774" fmla="*/ 1186644 h 6858000"/>
              <a:gd name="connsiteX3775" fmla="*/ 5328805 w 6530564"/>
              <a:gd name="connsiteY3775" fmla="*/ 1198660 h 6858000"/>
              <a:gd name="connsiteX3776" fmla="*/ 5339148 w 6530564"/>
              <a:gd name="connsiteY3776" fmla="*/ 1201337 h 6858000"/>
              <a:gd name="connsiteX3777" fmla="*/ 5339145 w 6530564"/>
              <a:gd name="connsiteY3777" fmla="*/ 1201337 h 6858000"/>
              <a:gd name="connsiteX3778" fmla="*/ 5340143 w 6530564"/>
              <a:gd name="connsiteY3778" fmla="*/ 1206007 h 6858000"/>
              <a:gd name="connsiteX3779" fmla="*/ 5345813 w 6530564"/>
              <a:gd name="connsiteY3779" fmla="*/ 1209681 h 6858000"/>
              <a:gd name="connsiteX3780" fmla="*/ 5341141 w 6530564"/>
              <a:gd name="connsiteY3780" fmla="*/ 1210678 h 6858000"/>
              <a:gd name="connsiteX3781" fmla="*/ 5335473 w 6530564"/>
              <a:gd name="connsiteY3781" fmla="*/ 1207006 h 6858000"/>
              <a:gd name="connsiteX3782" fmla="*/ 5336470 w 6530564"/>
              <a:gd name="connsiteY3782" fmla="*/ 1211676 h 6858000"/>
              <a:gd name="connsiteX3783" fmla="*/ 5342139 w 6530564"/>
              <a:gd name="connsiteY3783" fmla="*/ 1215350 h 6858000"/>
              <a:gd name="connsiteX3784" fmla="*/ 5347809 w 6530564"/>
              <a:gd name="connsiteY3784" fmla="*/ 1219022 h 6858000"/>
              <a:gd name="connsiteX3785" fmla="*/ 5337469 w 6530564"/>
              <a:gd name="connsiteY3785" fmla="*/ 1216347 h 6858000"/>
              <a:gd name="connsiteX3786" fmla="*/ 5331799 w 6530564"/>
              <a:gd name="connsiteY3786" fmla="*/ 1212674 h 6858000"/>
              <a:gd name="connsiteX3787" fmla="*/ 5326130 w 6530564"/>
              <a:gd name="connsiteY3787" fmla="*/ 1209000 h 6858000"/>
              <a:gd name="connsiteX3788" fmla="*/ 5314793 w 6530564"/>
              <a:gd name="connsiteY3788" fmla="*/ 1201655 h 6858000"/>
              <a:gd name="connsiteX3789" fmla="*/ 5316787 w 6530564"/>
              <a:gd name="connsiteY3789" fmla="*/ 1210996 h 6858000"/>
              <a:gd name="connsiteX3790" fmla="*/ 5317786 w 6530564"/>
              <a:gd name="connsiteY3790" fmla="*/ 1215668 h 6858000"/>
              <a:gd name="connsiteX3791" fmla="*/ 5294113 w 6530564"/>
              <a:gd name="connsiteY3791" fmla="*/ 1196306 h 6858000"/>
              <a:gd name="connsiteX3792" fmla="*/ 5298783 w 6530564"/>
              <a:gd name="connsiteY3792" fmla="*/ 1195307 h 6858000"/>
              <a:gd name="connsiteX3793" fmla="*/ 5297785 w 6530564"/>
              <a:gd name="connsiteY3793" fmla="*/ 1190636 h 6858000"/>
              <a:gd name="connsiteX3794" fmla="*/ 5293114 w 6530564"/>
              <a:gd name="connsiteY3794" fmla="*/ 1191633 h 6858000"/>
              <a:gd name="connsiteX3795" fmla="*/ 5288443 w 6530564"/>
              <a:gd name="connsiteY3795" fmla="*/ 1192631 h 6858000"/>
              <a:gd name="connsiteX3796" fmla="*/ 5282775 w 6530564"/>
              <a:gd name="connsiteY3796" fmla="*/ 1188958 h 6858000"/>
              <a:gd name="connsiteX3797" fmla="*/ 5265767 w 6530564"/>
              <a:gd name="connsiteY3797" fmla="*/ 1177939 h 6858000"/>
              <a:gd name="connsiteX3798" fmla="*/ 5237741 w 6530564"/>
              <a:gd name="connsiteY3798" fmla="*/ 1183927 h 6858000"/>
              <a:gd name="connsiteX3799" fmla="*/ 5264090 w 6530564"/>
              <a:gd name="connsiteY3799" fmla="*/ 1192949 h 6858000"/>
              <a:gd name="connsiteX3800" fmla="*/ 5254749 w 6530564"/>
              <a:gd name="connsiteY3800" fmla="*/ 1194947 h 6858000"/>
              <a:gd name="connsiteX3801" fmla="*/ 5255746 w 6530564"/>
              <a:gd name="connsiteY3801" fmla="*/ 1199616 h 6858000"/>
              <a:gd name="connsiteX3802" fmla="*/ 5210394 w 6530564"/>
              <a:gd name="connsiteY3802" fmla="*/ 1170233 h 6858000"/>
              <a:gd name="connsiteX3803" fmla="*/ 5166041 w 6530564"/>
              <a:gd name="connsiteY3803" fmla="*/ 1145520 h 6858000"/>
              <a:gd name="connsiteX3804" fmla="*/ 5175383 w 6530564"/>
              <a:gd name="connsiteY3804" fmla="*/ 1143524 h 6858000"/>
              <a:gd name="connsiteX3805" fmla="*/ 5152707 w 6530564"/>
              <a:gd name="connsiteY3805" fmla="*/ 1128832 h 6858000"/>
              <a:gd name="connsiteX3806" fmla="*/ 5132025 w 6530564"/>
              <a:gd name="connsiteY3806" fmla="*/ 1123480 h 6858000"/>
              <a:gd name="connsiteX3807" fmla="*/ 5122685 w 6530564"/>
              <a:gd name="connsiteY3807" fmla="*/ 1125476 h 6858000"/>
              <a:gd name="connsiteX3808" fmla="*/ 5046313 w 6530564"/>
              <a:gd name="connsiteY3808" fmla="*/ 1088067 h 6858000"/>
              <a:gd name="connsiteX3809" fmla="*/ 5030303 w 6530564"/>
              <a:gd name="connsiteY3809" fmla="*/ 1081718 h 6858000"/>
              <a:gd name="connsiteX3810" fmla="*/ 5086675 w 6530564"/>
              <a:gd name="connsiteY3810" fmla="*/ 1094097 h 6858000"/>
              <a:gd name="connsiteX3811" fmla="*/ 5085676 w 6530564"/>
              <a:gd name="connsiteY3811" fmla="*/ 1089426 h 6858000"/>
              <a:gd name="connsiteX3812" fmla="*/ 5095019 w 6530564"/>
              <a:gd name="connsiteY3812" fmla="*/ 1087429 h 6858000"/>
              <a:gd name="connsiteX3813" fmla="*/ 5029307 w 6530564"/>
              <a:gd name="connsiteY3813" fmla="*/ 1077048 h 6858000"/>
              <a:gd name="connsiteX3814" fmla="*/ 5028309 w 6530564"/>
              <a:gd name="connsiteY3814" fmla="*/ 1072377 h 6858000"/>
              <a:gd name="connsiteX3815" fmla="*/ 5032979 w 6530564"/>
              <a:gd name="connsiteY3815" fmla="*/ 1071380 h 6858000"/>
              <a:gd name="connsiteX3816" fmla="*/ 5027310 w 6530564"/>
              <a:gd name="connsiteY3816" fmla="*/ 1067706 h 6858000"/>
              <a:gd name="connsiteX3817" fmla="*/ 5005631 w 6530564"/>
              <a:gd name="connsiteY3817" fmla="*/ 1057685 h 6858000"/>
              <a:gd name="connsiteX3818" fmla="*/ 5000961 w 6530564"/>
              <a:gd name="connsiteY3818" fmla="*/ 1058683 h 6858000"/>
              <a:gd name="connsiteX3819" fmla="*/ 4995291 w 6530564"/>
              <a:gd name="connsiteY3819" fmla="*/ 1055010 h 6858000"/>
              <a:gd name="connsiteX3820" fmla="*/ 4983954 w 6530564"/>
              <a:gd name="connsiteY3820" fmla="*/ 1047662 h 6858000"/>
              <a:gd name="connsiteX3821" fmla="*/ 4982957 w 6530564"/>
              <a:gd name="connsiteY3821" fmla="*/ 1042992 h 6858000"/>
              <a:gd name="connsiteX3822" fmla="*/ 4977287 w 6530564"/>
              <a:gd name="connsiteY3822" fmla="*/ 1039320 h 6858000"/>
              <a:gd name="connsiteX3823" fmla="*/ 4973614 w 6530564"/>
              <a:gd name="connsiteY3823" fmla="*/ 1044988 h 6858000"/>
              <a:gd name="connsiteX3824" fmla="*/ 4942594 w 6530564"/>
              <a:gd name="connsiteY3824" fmla="*/ 1036963 h 6858000"/>
              <a:gd name="connsiteX3825" fmla="*/ 4947265 w 6530564"/>
              <a:gd name="connsiteY3825" fmla="*/ 1035964 h 6858000"/>
              <a:gd name="connsiteX3826" fmla="*/ 4946267 w 6530564"/>
              <a:gd name="connsiteY3826" fmla="*/ 1031294 h 6858000"/>
              <a:gd name="connsiteX3827" fmla="*/ 4941597 w 6530564"/>
              <a:gd name="connsiteY3827" fmla="*/ 1032293 h 6858000"/>
              <a:gd name="connsiteX3828" fmla="*/ 4936925 w 6530564"/>
              <a:gd name="connsiteY3828" fmla="*/ 1033290 h 6858000"/>
              <a:gd name="connsiteX3829" fmla="*/ 4921914 w 6530564"/>
              <a:gd name="connsiteY3829" fmla="*/ 1031612 h 6858000"/>
              <a:gd name="connsiteX3830" fmla="*/ 4927583 w 6530564"/>
              <a:gd name="connsiteY3830" fmla="*/ 1035286 h 6858000"/>
              <a:gd name="connsiteX3831" fmla="*/ 4973614 w 6530564"/>
              <a:gd name="connsiteY3831" fmla="*/ 1044988 h 6858000"/>
              <a:gd name="connsiteX3832" fmla="*/ 4964271 w 6530564"/>
              <a:gd name="connsiteY3832" fmla="*/ 1046983 h 6858000"/>
              <a:gd name="connsiteX3833" fmla="*/ 4965270 w 6530564"/>
              <a:gd name="connsiteY3833" fmla="*/ 1051656 h 6858000"/>
              <a:gd name="connsiteX3834" fmla="*/ 4969940 w 6530564"/>
              <a:gd name="connsiteY3834" fmla="*/ 1050657 h 6858000"/>
              <a:gd name="connsiteX3835" fmla="*/ 4975610 w 6530564"/>
              <a:gd name="connsiteY3835" fmla="*/ 1054330 h 6858000"/>
              <a:gd name="connsiteX3836" fmla="*/ 4980281 w 6530564"/>
              <a:gd name="connsiteY3836" fmla="*/ 1053332 h 6858000"/>
              <a:gd name="connsiteX3837" fmla="*/ 4976607 w 6530564"/>
              <a:gd name="connsiteY3837" fmla="*/ 1059002 h 6858000"/>
              <a:gd name="connsiteX3838" fmla="*/ 4945587 w 6530564"/>
              <a:gd name="connsiteY3838" fmla="*/ 1050975 h 6858000"/>
              <a:gd name="connsiteX3839" fmla="*/ 4888638 w 6530564"/>
              <a:gd name="connsiteY3839" fmla="*/ 1030174 h 6858000"/>
              <a:gd name="connsiteX3840" fmla="*/ 4883576 w 6530564"/>
              <a:gd name="connsiteY3840" fmla="*/ 1028576 h 6858000"/>
              <a:gd name="connsiteX3841" fmla="*/ 4677737 w 6530564"/>
              <a:gd name="connsiteY3841" fmla="*/ 918554 h 6858000"/>
              <a:gd name="connsiteX3842" fmla="*/ 4486061 w 6530564"/>
              <a:gd name="connsiteY3842" fmla="*/ 866223 h 6858000"/>
              <a:gd name="connsiteX3843" fmla="*/ 4048372 w 6530564"/>
              <a:gd name="connsiteY3843" fmla="*/ 829950 h 6858000"/>
              <a:gd name="connsiteX3844" fmla="*/ 2878191 w 6530564"/>
              <a:gd name="connsiteY3844" fmla="*/ 1029255 h 6858000"/>
              <a:gd name="connsiteX3845" fmla="*/ 2628640 w 6530564"/>
              <a:gd name="connsiteY3845" fmla="*/ 1161658 h 6858000"/>
              <a:gd name="connsiteX3846" fmla="*/ 2250745 w 6530564"/>
              <a:gd name="connsiteY3846" fmla="*/ 1414763 h 6858000"/>
              <a:gd name="connsiteX3847" fmla="*/ 2208076 w 6530564"/>
              <a:gd name="connsiteY3847" fmla="*/ 1423878 h 6858000"/>
              <a:gd name="connsiteX3848" fmla="*/ 2202136 w 6530564"/>
              <a:gd name="connsiteY3848" fmla="*/ 1413869 h 6858000"/>
              <a:gd name="connsiteX3849" fmla="*/ 2202084 w 6530564"/>
              <a:gd name="connsiteY3849" fmla="*/ 1411629 h 6858000"/>
              <a:gd name="connsiteX3850" fmla="*/ 2206238 w 6530564"/>
              <a:gd name="connsiteY3850" fmla="*/ 1407817 h 6858000"/>
              <a:gd name="connsiteX3851" fmla="*/ 2786866 w 6530564"/>
              <a:gd name="connsiteY3851" fmla="*/ 1028640 h 6858000"/>
              <a:gd name="connsiteX3852" fmla="*/ 2792535 w 6530564"/>
              <a:gd name="connsiteY3852" fmla="*/ 1032314 h 6858000"/>
              <a:gd name="connsiteX3853" fmla="*/ 2797204 w 6530564"/>
              <a:gd name="connsiteY3853" fmla="*/ 1031315 h 6858000"/>
              <a:gd name="connsiteX3854" fmla="*/ 2802875 w 6530564"/>
              <a:gd name="connsiteY3854" fmla="*/ 1034988 h 6858000"/>
              <a:gd name="connsiteX3855" fmla="*/ 2794529 w 6530564"/>
              <a:gd name="connsiteY3855" fmla="*/ 1041655 h 6858000"/>
              <a:gd name="connsiteX3856" fmla="*/ 2795528 w 6530564"/>
              <a:gd name="connsiteY3856" fmla="*/ 1046327 h 6858000"/>
              <a:gd name="connsiteX3857" fmla="*/ 2800199 w 6530564"/>
              <a:gd name="connsiteY3857" fmla="*/ 1045328 h 6858000"/>
              <a:gd name="connsiteX3858" fmla="*/ 2804871 w 6530564"/>
              <a:gd name="connsiteY3858" fmla="*/ 1044330 h 6858000"/>
              <a:gd name="connsiteX3859" fmla="*/ 2808543 w 6530564"/>
              <a:gd name="connsiteY3859" fmla="*/ 1038660 h 6858000"/>
              <a:gd name="connsiteX3860" fmla="*/ 2813215 w 6530564"/>
              <a:gd name="connsiteY3860" fmla="*/ 1037663 h 6858000"/>
              <a:gd name="connsiteX3861" fmla="*/ 2829222 w 6530564"/>
              <a:gd name="connsiteY3861" fmla="*/ 1044011 h 6858000"/>
              <a:gd name="connsiteX3862" fmla="*/ 2830901 w 6530564"/>
              <a:gd name="connsiteY3862" fmla="*/ 1029001 h 6858000"/>
              <a:gd name="connsiteX3863" fmla="*/ 2826228 w 6530564"/>
              <a:gd name="connsiteY3863" fmla="*/ 1029998 h 6858000"/>
              <a:gd name="connsiteX3864" fmla="*/ 2825231 w 6530564"/>
              <a:gd name="connsiteY3864" fmla="*/ 1025328 h 6858000"/>
              <a:gd name="connsiteX3865" fmla="*/ 2811218 w 6530564"/>
              <a:gd name="connsiteY3865" fmla="*/ 1028322 h 6858000"/>
              <a:gd name="connsiteX3866" fmla="*/ 2807546 w 6530564"/>
              <a:gd name="connsiteY3866" fmla="*/ 1033990 h 6858000"/>
              <a:gd name="connsiteX3867" fmla="*/ 2810219 w 6530564"/>
              <a:gd name="connsiteY3867" fmla="*/ 1023650 h 6858000"/>
              <a:gd name="connsiteX3868" fmla="*/ 2814891 w 6530564"/>
              <a:gd name="connsiteY3868" fmla="*/ 1022653 h 6858000"/>
              <a:gd name="connsiteX3869" fmla="*/ 2823235 w 6530564"/>
              <a:gd name="connsiteY3869" fmla="*/ 1015986 h 6858000"/>
              <a:gd name="connsiteX3870" fmla="*/ 2818565 w 6530564"/>
              <a:gd name="connsiteY3870" fmla="*/ 1016983 h 6858000"/>
              <a:gd name="connsiteX3871" fmla="*/ 3037465 w 6530564"/>
              <a:gd name="connsiteY3871" fmla="*/ 921374 h 6858000"/>
              <a:gd name="connsiteX3872" fmla="*/ 3058147 w 6530564"/>
              <a:gd name="connsiteY3872" fmla="*/ 926725 h 6858000"/>
              <a:gd name="connsiteX3873" fmla="*/ 3046809 w 6530564"/>
              <a:gd name="connsiteY3873" fmla="*/ 919377 h 6858000"/>
              <a:gd name="connsiteX3874" fmla="*/ 3051479 w 6530564"/>
              <a:gd name="connsiteY3874" fmla="*/ 918379 h 6858000"/>
              <a:gd name="connsiteX3875" fmla="*/ 3499823 w 6530564"/>
              <a:gd name="connsiteY3875" fmla="*/ 793288 h 6858000"/>
              <a:gd name="connsiteX3876" fmla="*/ 3644023 w 6530564"/>
              <a:gd name="connsiteY3876" fmla="*/ 771778 h 6858000"/>
              <a:gd name="connsiteX3877" fmla="*/ 3664087 w 6530564"/>
              <a:gd name="connsiteY3877" fmla="*/ 769873 h 6858000"/>
              <a:gd name="connsiteX3878" fmla="*/ 3801298 w 6530564"/>
              <a:gd name="connsiteY3878" fmla="*/ 765118 h 6858000"/>
              <a:gd name="connsiteX3879" fmla="*/ 3849108 w 6530564"/>
              <a:gd name="connsiteY3879" fmla="*/ 758706 h 6858000"/>
              <a:gd name="connsiteX3880" fmla="*/ 3858639 w 6530564"/>
              <a:gd name="connsiteY3880" fmla="*/ 750773 h 6858000"/>
              <a:gd name="connsiteX3881" fmla="*/ 1876892 w 6530564"/>
              <a:gd name="connsiteY3881" fmla="*/ 560831 h 6858000"/>
              <a:gd name="connsiteX3882" fmla="*/ 1898421 w 6530564"/>
              <a:gd name="connsiteY3882" fmla="*/ 560831 h 6858000"/>
              <a:gd name="connsiteX3883" fmla="*/ 1793475 w 6530564"/>
              <a:gd name="connsiteY3883" fmla="*/ 681915 h 6858000"/>
              <a:gd name="connsiteX3884" fmla="*/ 776305 w 6530564"/>
              <a:gd name="connsiteY3884" fmla="*/ 2172579 h 6858000"/>
              <a:gd name="connsiteX3885" fmla="*/ 760159 w 6530564"/>
              <a:gd name="connsiteY3885" fmla="*/ 2226393 h 6858000"/>
              <a:gd name="connsiteX3886" fmla="*/ 674049 w 6530564"/>
              <a:gd name="connsiteY3886" fmla="*/ 2724179 h 6858000"/>
              <a:gd name="connsiteX3887" fmla="*/ 622922 w 6530564"/>
              <a:gd name="connsiteY3887" fmla="*/ 3181602 h 6858000"/>
              <a:gd name="connsiteX3888" fmla="*/ 668667 w 6530564"/>
              <a:gd name="connsiteY3888" fmla="*/ 3073973 h 6858000"/>
              <a:gd name="connsiteX3889" fmla="*/ 725177 w 6530564"/>
              <a:gd name="connsiteY3889" fmla="*/ 2664982 h 6858000"/>
              <a:gd name="connsiteX3890" fmla="*/ 1438272 w 6530564"/>
              <a:gd name="connsiteY3890" fmla="*/ 1155483 h 6858000"/>
              <a:gd name="connsiteX3891" fmla="*/ 1629328 w 6530564"/>
              <a:gd name="connsiteY3891" fmla="*/ 999420 h 6858000"/>
              <a:gd name="connsiteX3892" fmla="*/ 1669692 w 6530564"/>
              <a:gd name="connsiteY3892" fmla="*/ 929461 h 6858000"/>
              <a:gd name="connsiteX3893" fmla="*/ 1739655 w 6530564"/>
              <a:gd name="connsiteY3893" fmla="*/ 848740 h 6858000"/>
              <a:gd name="connsiteX3894" fmla="*/ 1817693 w 6530564"/>
              <a:gd name="connsiteY3894" fmla="*/ 837977 h 6858000"/>
              <a:gd name="connsiteX3895" fmla="*/ 1715438 w 6530564"/>
              <a:gd name="connsiteY3895" fmla="*/ 953679 h 6858000"/>
              <a:gd name="connsiteX3896" fmla="*/ 1403290 w 6530564"/>
              <a:gd name="connsiteY3896" fmla="*/ 1335761 h 6858000"/>
              <a:gd name="connsiteX3897" fmla="*/ 1352163 w 6530564"/>
              <a:gd name="connsiteY3897" fmla="*/ 1448772 h 6858000"/>
              <a:gd name="connsiteX3898" fmla="*/ 1314489 w 6530564"/>
              <a:gd name="connsiteY3898" fmla="*/ 1532185 h 6858000"/>
              <a:gd name="connsiteX3899" fmla="*/ 1072307 w 6530564"/>
              <a:gd name="connsiteY3899" fmla="*/ 1965393 h 6858000"/>
              <a:gd name="connsiteX3900" fmla="*/ 1069616 w 6530564"/>
              <a:gd name="connsiteY3900" fmla="*/ 1997681 h 6858000"/>
              <a:gd name="connsiteX3901" fmla="*/ 1099217 w 6530564"/>
              <a:gd name="connsiteY3901" fmla="*/ 1970774 h 6858000"/>
              <a:gd name="connsiteX3902" fmla="*/ 1494782 w 6530564"/>
              <a:gd name="connsiteY3902" fmla="*/ 1327690 h 6858000"/>
              <a:gd name="connsiteX3903" fmla="*/ 1510927 w 6530564"/>
              <a:gd name="connsiteY3903" fmla="*/ 1303472 h 6858000"/>
              <a:gd name="connsiteX3904" fmla="*/ 1540528 w 6530564"/>
              <a:gd name="connsiteY3904" fmla="*/ 1300782 h 6858000"/>
              <a:gd name="connsiteX3905" fmla="*/ 1540528 w 6530564"/>
              <a:gd name="connsiteY3905" fmla="*/ 1330381 h 6858000"/>
              <a:gd name="connsiteX3906" fmla="*/ 1217616 w 6530564"/>
              <a:gd name="connsiteY3906" fmla="*/ 1836238 h 6858000"/>
              <a:gd name="connsiteX3907" fmla="*/ 1201472 w 6530564"/>
              <a:gd name="connsiteY3907" fmla="*/ 1865836 h 6858000"/>
              <a:gd name="connsiteX3908" fmla="*/ 1034634 w 6530564"/>
              <a:gd name="connsiteY3908" fmla="*/ 2315188 h 6858000"/>
              <a:gd name="connsiteX3909" fmla="*/ 886633 w 6530564"/>
              <a:gd name="connsiteY3909" fmla="*/ 3316138 h 6858000"/>
              <a:gd name="connsiteX3910" fmla="*/ 886633 w 6530564"/>
              <a:gd name="connsiteY3910" fmla="*/ 3345737 h 6858000"/>
              <a:gd name="connsiteX3911" fmla="*/ 910852 w 6530564"/>
              <a:gd name="connsiteY3911" fmla="*/ 3286541 h 6858000"/>
              <a:gd name="connsiteX3912" fmla="*/ 912039 w 6530564"/>
              <a:gd name="connsiteY3912" fmla="*/ 3267394 h 6858000"/>
              <a:gd name="connsiteX3913" fmla="*/ 911945 w 6530564"/>
              <a:gd name="connsiteY3913" fmla="*/ 3235898 h 6858000"/>
              <a:gd name="connsiteX3914" fmla="*/ 932891 w 6530564"/>
              <a:gd name="connsiteY3914" fmla="*/ 2963742 h 6858000"/>
              <a:gd name="connsiteX3915" fmla="*/ 935203 w 6530564"/>
              <a:gd name="connsiteY3915" fmla="*/ 2950827 h 6858000"/>
              <a:gd name="connsiteX3916" fmla="*/ 936942 w 6530564"/>
              <a:gd name="connsiteY3916" fmla="*/ 2948948 h 6858000"/>
              <a:gd name="connsiteX3917" fmla="*/ 967110 w 6530564"/>
              <a:gd name="connsiteY3917" fmla="*/ 2742550 h 6858000"/>
              <a:gd name="connsiteX3918" fmla="*/ 1653547 w 6530564"/>
              <a:gd name="connsiteY3918" fmla="*/ 1308854 h 6858000"/>
              <a:gd name="connsiteX3919" fmla="*/ 2092167 w 6530564"/>
              <a:gd name="connsiteY3919" fmla="*/ 889101 h 6858000"/>
              <a:gd name="connsiteX3920" fmla="*/ 2137913 w 6530564"/>
              <a:gd name="connsiteY3920" fmla="*/ 856811 h 6858000"/>
              <a:gd name="connsiteX3921" fmla="*/ 2108312 w 6530564"/>
              <a:gd name="connsiteY3921" fmla="*/ 940224 h 6858000"/>
              <a:gd name="connsiteX3922" fmla="*/ 2046421 w 6530564"/>
              <a:gd name="connsiteY3922" fmla="*/ 1055926 h 6858000"/>
              <a:gd name="connsiteX3923" fmla="*/ 2016821 w 6530564"/>
              <a:gd name="connsiteY3923" fmla="*/ 1093597 h 6858000"/>
              <a:gd name="connsiteX3924" fmla="*/ 1774638 w 6530564"/>
              <a:gd name="connsiteY3924" fmla="*/ 1349215 h 6858000"/>
              <a:gd name="connsiteX3925" fmla="*/ 1777328 w 6530564"/>
              <a:gd name="connsiteY3925" fmla="*/ 1386886 h 6858000"/>
              <a:gd name="connsiteX3926" fmla="*/ 1766565 w 6530564"/>
              <a:gd name="connsiteY3926" fmla="*/ 1421865 h 6858000"/>
              <a:gd name="connsiteX3927" fmla="*/ 1352163 w 6530564"/>
              <a:gd name="connsiteY3927" fmla="*/ 2091856 h 6858000"/>
              <a:gd name="connsiteX3928" fmla="*/ 1101907 w 6530564"/>
              <a:gd name="connsiteY3928" fmla="*/ 3087427 h 6858000"/>
              <a:gd name="connsiteX3929" fmla="*/ 1102580 w 6530564"/>
              <a:gd name="connsiteY3929" fmla="*/ 3094154 h 6858000"/>
              <a:gd name="connsiteX3930" fmla="*/ 1104570 w 6530564"/>
              <a:gd name="connsiteY3930" fmla="*/ 3100406 h 6858000"/>
              <a:gd name="connsiteX3931" fmla="*/ 1113843 w 6530564"/>
              <a:gd name="connsiteY3931" fmla="*/ 2999101 h 6858000"/>
              <a:gd name="connsiteX3932" fmla="*/ 1236682 w 6530564"/>
              <a:gd name="connsiteY3932" fmla="*/ 2487179 h 6858000"/>
              <a:gd name="connsiteX3933" fmla="*/ 1249712 w 6530564"/>
              <a:gd name="connsiteY3933" fmla="*/ 2472227 h 6858000"/>
              <a:gd name="connsiteX3934" fmla="*/ 1144152 w 6530564"/>
              <a:gd name="connsiteY3934" fmla="*/ 2998820 h 6858000"/>
              <a:gd name="connsiteX3935" fmla="*/ 1143877 w 6530564"/>
              <a:gd name="connsiteY3935" fmla="*/ 3001792 h 6858000"/>
              <a:gd name="connsiteX3936" fmla="*/ 1144625 w 6530564"/>
              <a:gd name="connsiteY3936" fmla="*/ 2999599 h 6858000"/>
              <a:gd name="connsiteX3937" fmla="*/ 1220307 w 6530564"/>
              <a:gd name="connsiteY3937" fmla="*/ 2673054 h 6858000"/>
              <a:gd name="connsiteX3938" fmla="*/ 1182634 w 6530564"/>
              <a:gd name="connsiteY3938" fmla="*/ 3001323 h 6858000"/>
              <a:gd name="connsiteX3939" fmla="*/ 1177230 w 6530564"/>
              <a:gd name="connsiteY3939" fmla="*/ 3017964 h 6858000"/>
              <a:gd name="connsiteX3940" fmla="*/ 1193129 w 6530564"/>
              <a:gd name="connsiteY3940" fmla="*/ 3023733 h 6858000"/>
              <a:gd name="connsiteX3941" fmla="*/ 1207684 w 6530564"/>
              <a:gd name="connsiteY3941" fmla="*/ 3006427 h 6858000"/>
              <a:gd name="connsiteX3942" fmla="*/ 1314361 w 6530564"/>
              <a:gd name="connsiteY3942" fmla="*/ 2537505 h 6858000"/>
              <a:gd name="connsiteX3943" fmla="*/ 1324018 w 6530564"/>
              <a:gd name="connsiteY3943" fmla="*/ 2510631 h 6858000"/>
              <a:gd name="connsiteX3944" fmla="*/ 1336954 w 6530564"/>
              <a:gd name="connsiteY3944" fmla="*/ 2510369 h 6858000"/>
              <a:gd name="connsiteX3945" fmla="*/ 1346335 w 6530564"/>
              <a:gd name="connsiteY3945" fmla="*/ 2515455 h 6858000"/>
              <a:gd name="connsiteX3946" fmla="*/ 1341475 w 6530564"/>
              <a:gd name="connsiteY3946" fmla="*/ 2526822 h 6858000"/>
              <a:gd name="connsiteX3947" fmla="*/ 1206129 w 6530564"/>
              <a:gd name="connsiteY3947" fmla="*/ 3017246 h 6858000"/>
              <a:gd name="connsiteX3948" fmla="*/ 1190428 w 6530564"/>
              <a:gd name="connsiteY3948" fmla="*/ 3134619 h 6858000"/>
              <a:gd name="connsiteX3949" fmla="*/ 1188018 w 6530564"/>
              <a:gd name="connsiteY3949" fmla="*/ 3178911 h 6858000"/>
              <a:gd name="connsiteX3950" fmla="*/ 1189026 w 6530564"/>
              <a:gd name="connsiteY3950" fmla="*/ 3548551 h 6858000"/>
              <a:gd name="connsiteX3951" fmla="*/ 1205813 w 6530564"/>
              <a:gd name="connsiteY3951" fmla="*/ 3671558 h 6858000"/>
              <a:gd name="connsiteX3952" fmla="*/ 1210772 w 6530564"/>
              <a:gd name="connsiteY3952" fmla="*/ 3356381 h 6858000"/>
              <a:gd name="connsiteX3953" fmla="*/ 1341421 w 6530564"/>
              <a:gd name="connsiteY3953" fmla="*/ 2696971 h 6858000"/>
              <a:gd name="connsiteX3954" fmla="*/ 1356818 w 6530564"/>
              <a:gd name="connsiteY3954" fmla="*/ 2655264 h 6858000"/>
              <a:gd name="connsiteX3955" fmla="*/ 1364300 w 6530564"/>
              <a:gd name="connsiteY3955" fmla="*/ 2638368 h 6858000"/>
              <a:gd name="connsiteX3956" fmla="*/ 1403642 w 6530564"/>
              <a:gd name="connsiteY3956" fmla="*/ 2528432 h 6858000"/>
              <a:gd name="connsiteX3957" fmla="*/ 1418816 w 6530564"/>
              <a:gd name="connsiteY3957" fmla="*/ 2487337 h 6858000"/>
              <a:gd name="connsiteX3958" fmla="*/ 1885305 w 6530564"/>
              <a:gd name="connsiteY3958" fmla="*/ 1726888 h 6858000"/>
              <a:gd name="connsiteX3959" fmla="*/ 1887481 w 6530564"/>
              <a:gd name="connsiteY3959" fmla="*/ 1724542 h 6858000"/>
              <a:gd name="connsiteX3960" fmla="*/ 1876956 w 6530564"/>
              <a:gd name="connsiteY3960" fmla="*/ 1747601 h 6858000"/>
              <a:gd name="connsiteX3961" fmla="*/ 1845344 w 6530564"/>
              <a:gd name="connsiteY3961" fmla="*/ 1795419 h 6858000"/>
              <a:gd name="connsiteX3962" fmla="*/ 1341756 w 6530564"/>
              <a:gd name="connsiteY3962" fmla="*/ 3026454 h 6858000"/>
              <a:gd name="connsiteX3963" fmla="*/ 1338404 w 6530564"/>
              <a:gd name="connsiteY3963" fmla="*/ 3067727 h 6858000"/>
              <a:gd name="connsiteX3964" fmla="*/ 1352994 w 6530564"/>
              <a:gd name="connsiteY3964" fmla="*/ 3439768 h 6858000"/>
              <a:gd name="connsiteX3965" fmla="*/ 1386580 w 6530564"/>
              <a:gd name="connsiteY3965" fmla="*/ 3777331 h 6858000"/>
              <a:gd name="connsiteX3966" fmla="*/ 1402977 w 6530564"/>
              <a:gd name="connsiteY3966" fmla="*/ 3692713 h 6858000"/>
              <a:gd name="connsiteX3967" fmla="*/ 1380729 w 6530564"/>
              <a:gd name="connsiteY3967" fmla="*/ 3389229 h 6858000"/>
              <a:gd name="connsiteX3968" fmla="*/ 1662254 w 6530564"/>
              <a:gd name="connsiteY3968" fmla="*/ 2191442 h 6858000"/>
              <a:gd name="connsiteX3969" fmla="*/ 1775928 w 6530564"/>
              <a:gd name="connsiteY3969" fmla="*/ 2049539 h 6858000"/>
              <a:gd name="connsiteX3970" fmla="*/ 1794248 w 6530564"/>
              <a:gd name="connsiteY3970" fmla="*/ 1992901 h 6858000"/>
              <a:gd name="connsiteX3971" fmla="*/ 1832245 w 6530564"/>
              <a:gd name="connsiteY3971" fmla="*/ 1923946 h 6858000"/>
              <a:gd name="connsiteX3972" fmla="*/ 1886833 w 6530564"/>
              <a:gd name="connsiteY3972" fmla="*/ 1904172 h 6858000"/>
              <a:gd name="connsiteX3973" fmla="*/ 1830946 w 6530564"/>
              <a:gd name="connsiteY3973" fmla="*/ 2003310 h 6858000"/>
              <a:gd name="connsiteX3974" fmla="*/ 1664800 w 6530564"/>
              <a:gd name="connsiteY3974" fmla="*/ 2326766 h 6858000"/>
              <a:gd name="connsiteX3975" fmla="*/ 1645352 w 6530564"/>
              <a:gd name="connsiteY3975" fmla="*/ 2416092 h 6858000"/>
              <a:gd name="connsiteX3976" fmla="*/ 1631044 w 6530564"/>
              <a:gd name="connsiteY3976" fmla="*/ 2482013 h 6858000"/>
              <a:gd name="connsiteX3977" fmla="*/ 1523196 w 6530564"/>
              <a:gd name="connsiteY3977" fmla="*/ 2831542 h 6858000"/>
              <a:gd name="connsiteX3978" fmla="*/ 1526229 w 6530564"/>
              <a:gd name="connsiteY3978" fmla="*/ 2855229 h 6858000"/>
              <a:gd name="connsiteX3979" fmla="*/ 1534614 w 6530564"/>
              <a:gd name="connsiteY3979" fmla="*/ 2850072 h 6858000"/>
              <a:gd name="connsiteX3980" fmla="*/ 1531478 w 6530564"/>
              <a:gd name="connsiteY3980" fmla="*/ 2868343 h 6858000"/>
              <a:gd name="connsiteX3981" fmla="*/ 1530525 w 6530564"/>
              <a:gd name="connsiteY3981" fmla="*/ 2870743 h 6858000"/>
              <a:gd name="connsiteX3982" fmla="*/ 1530643 w 6530564"/>
              <a:gd name="connsiteY3982" fmla="*/ 2867299 h 6858000"/>
              <a:gd name="connsiteX3983" fmla="*/ 1527396 w 6530564"/>
              <a:gd name="connsiteY3983" fmla="*/ 2860667 h 6858000"/>
              <a:gd name="connsiteX3984" fmla="*/ 1520049 w 6530564"/>
              <a:gd name="connsiteY3984" fmla="*/ 2872005 h 6858000"/>
              <a:gd name="connsiteX3985" fmla="*/ 1521048 w 6530564"/>
              <a:gd name="connsiteY3985" fmla="*/ 2876676 h 6858000"/>
              <a:gd name="connsiteX3986" fmla="*/ 1521727 w 6530564"/>
              <a:gd name="connsiteY3986" fmla="*/ 2856995 h 6858000"/>
              <a:gd name="connsiteX3987" fmla="*/ 1511385 w 6530564"/>
              <a:gd name="connsiteY3987" fmla="*/ 2854318 h 6858000"/>
              <a:gd name="connsiteX3988" fmla="*/ 1498690 w 6530564"/>
              <a:gd name="connsiteY3988" fmla="*/ 2886335 h 6858000"/>
              <a:gd name="connsiteX3989" fmla="*/ 1499687 w 6530564"/>
              <a:gd name="connsiteY3989" fmla="*/ 2891007 h 6858000"/>
              <a:gd name="connsiteX3990" fmla="*/ 1495017 w 6530564"/>
              <a:gd name="connsiteY3990" fmla="*/ 2892005 h 6858000"/>
              <a:gd name="connsiteX3991" fmla="*/ 1496015 w 6530564"/>
              <a:gd name="connsiteY3991" fmla="*/ 2896677 h 6858000"/>
              <a:gd name="connsiteX3992" fmla="*/ 1497013 w 6530564"/>
              <a:gd name="connsiteY3992" fmla="*/ 2901348 h 6858000"/>
              <a:gd name="connsiteX3993" fmla="*/ 1500687 w 6530564"/>
              <a:gd name="connsiteY3993" fmla="*/ 2895679 h 6858000"/>
              <a:gd name="connsiteX3994" fmla="*/ 1500005 w 6530564"/>
              <a:gd name="connsiteY3994" fmla="*/ 2915361 h 6858000"/>
              <a:gd name="connsiteX3995" fmla="*/ 1504677 w 6530564"/>
              <a:gd name="connsiteY3995" fmla="*/ 2914363 h 6858000"/>
              <a:gd name="connsiteX3996" fmla="*/ 1514701 w 6530564"/>
              <a:gd name="connsiteY3996" fmla="*/ 2892685 h 6858000"/>
              <a:gd name="connsiteX3997" fmla="*/ 1519370 w 6530564"/>
              <a:gd name="connsiteY3997" fmla="*/ 2891687 h 6858000"/>
              <a:gd name="connsiteX3998" fmla="*/ 1515697 w 6530564"/>
              <a:gd name="connsiteY3998" fmla="*/ 2897355 h 6858000"/>
              <a:gd name="connsiteX3999" fmla="*/ 1522365 w 6530564"/>
              <a:gd name="connsiteY3999" fmla="*/ 2905700 h 6858000"/>
              <a:gd name="connsiteX4000" fmla="*/ 1525039 w 6530564"/>
              <a:gd name="connsiteY4000" fmla="*/ 2895360 h 6858000"/>
              <a:gd name="connsiteX4001" fmla="*/ 1524041 w 6530564"/>
              <a:gd name="connsiteY4001" fmla="*/ 2890688 h 6858000"/>
              <a:gd name="connsiteX4002" fmla="*/ 1527714 w 6530564"/>
              <a:gd name="connsiteY4002" fmla="*/ 2885020 h 6858000"/>
              <a:gd name="connsiteX4003" fmla="*/ 1518010 w 6530564"/>
              <a:gd name="connsiteY4003" fmla="*/ 2931050 h 6858000"/>
              <a:gd name="connsiteX4004" fmla="*/ 1529349 w 6530564"/>
              <a:gd name="connsiteY4004" fmla="*/ 2938396 h 6858000"/>
              <a:gd name="connsiteX4005" fmla="*/ 1530348 w 6530564"/>
              <a:gd name="connsiteY4005" fmla="*/ 2943068 h 6858000"/>
              <a:gd name="connsiteX4006" fmla="*/ 1524678 w 6530564"/>
              <a:gd name="connsiteY4006" fmla="*/ 2939395 h 6858000"/>
              <a:gd name="connsiteX4007" fmla="*/ 1523680 w 6530564"/>
              <a:gd name="connsiteY4007" fmla="*/ 2934724 h 6858000"/>
              <a:gd name="connsiteX4008" fmla="*/ 1519008 w 6530564"/>
              <a:gd name="connsiteY4008" fmla="*/ 2935721 h 6858000"/>
              <a:gd name="connsiteX4009" fmla="*/ 1516334 w 6530564"/>
              <a:gd name="connsiteY4009" fmla="*/ 2946061 h 6858000"/>
              <a:gd name="connsiteX4010" fmla="*/ 1517333 w 6530564"/>
              <a:gd name="connsiteY4010" fmla="*/ 2950732 h 6858000"/>
              <a:gd name="connsiteX4011" fmla="*/ 1509986 w 6530564"/>
              <a:gd name="connsiteY4011" fmla="*/ 2962070 h 6858000"/>
              <a:gd name="connsiteX4012" fmla="*/ 1507991 w 6530564"/>
              <a:gd name="connsiteY4012" fmla="*/ 2952728 h 6858000"/>
              <a:gd name="connsiteX4013" fmla="*/ 1503320 w 6530564"/>
              <a:gd name="connsiteY4013" fmla="*/ 2953726 h 6858000"/>
              <a:gd name="connsiteX4014" fmla="*/ 1500643 w 6530564"/>
              <a:gd name="connsiteY4014" fmla="*/ 2964066 h 6858000"/>
              <a:gd name="connsiteX4015" fmla="*/ 1502641 w 6530564"/>
              <a:gd name="connsiteY4015" fmla="*/ 2973409 h 6858000"/>
              <a:gd name="connsiteX4016" fmla="*/ 1514976 w 6530564"/>
              <a:gd name="connsiteY4016" fmla="*/ 2985426 h 6858000"/>
              <a:gd name="connsiteX4017" fmla="*/ 1513299 w 6530564"/>
              <a:gd name="connsiteY4017" fmla="*/ 3000436 h 6858000"/>
              <a:gd name="connsiteX4018" fmla="*/ 1495570 w 6530564"/>
              <a:gd name="connsiteY4018" fmla="*/ 3077486 h 6858000"/>
              <a:gd name="connsiteX4019" fmla="*/ 1489902 w 6530564"/>
              <a:gd name="connsiteY4019" fmla="*/ 3073814 h 6858000"/>
              <a:gd name="connsiteX4020" fmla="*/ 1490900 w 6530564"/>
              <a:gd name="connsiteY4020" fmla="*/ 3078485 h 6858000"/>
              <a:gd name="connsiteX4021" fmla="*/ 1486228 w 6530564"/>
              <a:gd name="connsiteY4021" fmla="*/ 3079482 h 6858000"/>
              <a:gd name="connsiteX4022" fmla="*/ 1480559 w 6530564"/>
              <a:gd name="connsiteY4022" fmla="*/ 3075811 h 6858000"/>
              <a:gd name="connsiteX4023" fmla="*/ 1485591 w 6530564"/>
              <a:gd name="connsiteY4023" fmla="*/ 3030777 h 6858000"/>
              <a:gd name="connsiteX4024" fmla="*/ 1491260 w 6530564"/>
              <a:gd name="connsiteY4024" fmla="*/ 3034450 h 6858000"/>
              <a:gd name="connsiteX4025" fmla="*/ 1496610 w 6530564"/>
              <a:gd name="connsiteY4025" fmla="*/ 3013770 h 6858000"/>
              <a:gd name="connsiteX4026" fmla="*/ 1489264 w 6530564"/>
              <a:gd name="connsiteY4026" fmla="*/ 3025108 h 6858000"/>
              <a:gd name="connsiteX4027" fmla="*/ 1489944 w 6530564"/>
              <a:gd name="connsiteY4027" fmla="*/ 3005426 h 6858000"/>
              <a:gd name="connsiteX4028" fmla="*/ 1488945 w 6530564"/>
              <a:gd name="connsiteY4028" fmla="*/ 3000755 h 6858000"/>
              <a:gd name="connsiteX4029" fmla="*/ 1492619 w 6530564"/>
              <a:gd name="connsiteY4029" fmla="*/ 2995087 h 6858000"/>
              <a:gd name="connsiteX4030" fmla="*/ 1491621 w 6530564"/>
              <a:gd name="connsiteY4030" fmla="*/ 2990414 h 6858000"/>
              <a:gd name="connsiteX4031" fmla="*/ 1490623 w 6530564"/>
              <a:gd name="connsiteY4031" fmla="*/ 2985745 h 6858000"/>
              <a:gd name="connsiteX4032" fmla="*/ 1482279 w 6530564"/>
              <a:gd name="connsiteY4032" fmla="*/ 2992412 h 6858000"/>
              <a:gd name="connsiteX4033" fmla="*/ 1479604 w 6530564"/>
              <a:gd name="connsiteY4033" fmla="*/ 3002751 h 6858000"/>
              <a:gd name="connsiteX4034" fmla="*/ 1480602 w 6530564"/>
              <a:gd name="connsiteY4034" fmla="*/ 3007422 h 6858000"/>
              <a:gd name="connsiteX4035" fmla="*/ 1485271 w 6530564"/>
              <a:gd name="connsiteY4035" fmla="*/ 3006424 h 6858000"/>
              <a:gd name="connsiteX4036" fmla="*/ 1475889 w 6530564"/>
              <a:gd name="connsiteY4036" fmla="*/ 3076809 h 6858000"/>
              <a:gd name="connsiteX4037" fmla="*/ 1472215 w 6530564"/>
              <a:gd name="connsiteY4037" fmla="*/ 3082477 h 6858000"/>
              <a:gd name="connsiteX4038" fmla="*/ 1469540 w 6530564"/>
              <a:gd name="connsiteY4038" fmla="*/ 3092817 h 6858000"/>
              <a:gd name="connsiteX4039" fmla="*/ 1474211 w 6530564"/>
              <a:gd name="connsiteY4039" fmla="*/ 3091818 h 6858000"/>
              <a:gd name="connsiteX4040" fmla="*/ 1466185 w 6530564"/>
              <a:gd name="connsiteY4040" fmla="*/ 3122840 h 6858000"/>
              <a:gd name="connsiteX4041" fmla="*/ 1463510 w 6530564"/>
              <a:gd name="connsiteY4041" fmla="*/ 3133178 h 6858000"/>
              <a:gd name="connsiteX4042" fmla="*/ 1464509 w 6530564"/>
              <a:gd name="connsiteY4042" fmla="*/ 3137850 h 6858000"/>
              <a:gd name="connsiteX4043" fmla="*/ 1469179 w 6530564"/>
              <a:gd name="connsiteY4043" fmla="*/ 3136851 h 6858000"/>
              <a:gd name="connsiteX4044" fmla="*/ 1458437 w 6530564"/>
              <a:gd name="connsiteY4044" fmla="*/ 3246598 h 6858000"/>
              <a:gd name="connsiteX4045" fmla="*/ 1454763 w 6530564"/>
              <a:gd name="connsiteY4045" fmla="*/ 3252269 h 6858000"/>
              <a:gd name="connsiteX4046" fmla="*/ 1455762 w 6530564"/>
              <a:gd name="connsiteY4046" fmla="*/ 3256940 h 6858000"/>
              <a:gd name="connsiteX4047" fmla="*/ 1456759 w 6530564"/>
              <a:gd name="connsiteY4047" fmla="*/ 3261610 h 6858000"/>
              <a:gd name="connsiteX4048" fmla="*/ 1452407 w 6530564"/>
              <a:gd name="connsiteY4048" fmla="*/ 3286961 h 6858000"/>
              <a:gd name="connsiteX4049" fmla="*/ 1448735 w 6530564"/>
              <a:gd name="connsiteY4049" fmla="*/ 3292631 h 6858000"/>
              <a:gd name="connsiteX4050" fmla="*/ 1450729 w 6530564"/>
              <a:gd name="connsiteY4050" fmla="*/ 3301973 h 6858000"/>
              <a:gd name="connsiteX4051" fmla="*/ 1451728 w 6530564"/>
              <a:gd name="connsiteY4051" fmla="*/ 3306644 h 6858000"/>
              <a:gd name="connsiteX4052" fmla="*/ 1448054 w 6530564"/>
              <a:gd name="connsiteY4052" fmla="*/ 3312312 h 6858000"/>
              <a:gd name="connsiteX4053" fmla="*/ 1449053 w 6530564"/>
              <a:gd name="connsiteY4053" fmla="*/ 3316984 h 6858000"/>
              <a:gd name="connsiteX4054" fmla="*/ 1455040 w 6530564"/>
              <a:gd name="connsiteY4054" fmla="*/ 3345009 h 6858000"/>
              <a:gd name="connsiteX4055" fmla="*/ 1451367 w 6530564"/>
              <a:gd name="connsiteY4055" fmla="*/ 3350678 h 6858000"/>
              <a:gd name="connsiteX4056" fmla="*/ 1452366 w 6530564"/>
              <a:gd name="connsiteY4056" fmla="*/ 3355351 h 6858000"/>
              <a:gd name="connsiteX4057" fmla="*/ 1450688 w 6530564"/>
              <a:gd name="connsiteY4057" fmla="*/ 3370360 h 6858000"/>
              <a:gd name="connsiteX4058" fmla="*/ 1451686 w 6530564"/>
              <a:gd name="connsiteY4058" fmla="*/ 3375030 h 6858000"/>
              <a:gd name="connsiteX4059" fmla="*/ 1445656 w 6530564"/>
              <a:gd name="connsiteY4059" fmla="*/ 3415393 h 6858000"/>
              <a:gd name="connsiteX4060" fmla="*/ 1446653 w 6530564"/>
              <a:gd name="connsiteY4060" fmla="*/ 3420063 h 6858000"/>
              <a:gd name="connsiteX4061" fmla="*/ 1441983 w 6530564"/>
              <a:gd name="connsiteY4061" fmla="*/ 3421062 h 6858000"/>
              <a:gd name="connsiteX4062" fmla="*/ 1442981 w 6530564"/>
              <a:gd name="connsiteY4062" fmla="*/ 3425733 h 6858000"/>
              <a:gd name="connsiteX4063" fmla="*/ 1443979 w 6530564"/>
              <a:gd name="connsiteY4063" fmla="*/ 3430404 h 6858000"/>
              <a:gd name="connsiteX4064" fmla="*/ 1448650 w 6530564"/>
              <a:gd name="connsiteY4064" fmla="*/ 3429407 h 6858000"/>
              <a:gd name="connsiteX4065" fmla="*/ 1446973 w 6530564"/>
              <a:gd name="connsiteY4065" fmla="*/ 3444417 h 6858000"/>
              <a:gd name="connsiteX4066" fmla="*/ 1445976 w 6530564"/>
              <a:gd name="connsiteY4066" fmla="*/ 3439745 h 6858000"/>
              <a:gd name="connsiteX4067" fmla="*/ 1445295 w 6530564"/>
              <a:gd name="connsiteY4067" fmla="*/ 3459428 h 6858000"/>
              <a:gd name="connsiteX4068" fmla="*/ 1448290 w 6530564"/>
              <a:gd name="connsiteY4068" fmla="*/ 3473441 h 6858000"/>
              <a:gd name="connsiteX4069" fmla="*/ 1444616 w 6530564"/>
              <a:gd name="connsiteY4069" fmla="*/ 3479111 h 6858000"/>
              <a:gd name="connsiteX4070" fmla="*/ 1445615 w 6530564"/>
              <a:gd name="connsiteY4070" fmla="*/ 3483781 h 6858000"/>
              <a:gd name="connsiteX4071" fmla="*/ 1441943 w 6530564"/>
              <a:gd name="connsiteY4071" fmla="*/ 3489449 h 6858000"/>
              <a:gd name="connsiteX4072" fmla="*/ 1442939 w 6530564"/>
              <a:gd name="connsiteY4072" fmla="*/ 3494121 h 6858000"/>
              <a:gd name="connsiteX4073" fmla="*/ 1447611 w 6530564"/>
              <a:gd name="connsiteY4073" fmla="*/ 3493123 h 6858000"/>
              <a:gd name="connsiteX4074" fmla="*/ 1456592 w 6530564"/>
              <a:gd name="connsiteY4074" fmla="*/ 3535162 h 6858000"/>
              <a:gd name="connsiteX4075" fmla="*/ 1450922 w 6530564"/>
              <a:gd name="connsiteY4075" fmla="*/ 3531488 h 6858000"/>
              <a:gd name="connsiteX4076" fmla="*/ 1446252 w 6530564"/>
              <a:gd name="connsiteY4076" fmla="*/ 3532487 h 6858000"/>
              <a:gd name="connsiteX4077" fmla="*/ 1448249 w 6530564"/>
              <a:gd name="connsiteY4077" fmla="*/ 3541828 h 6858000"/>
              <a:gd name="connsiteX4078" fmla="*/ 1449247 w 6530564"/>
              <a:gd name="connsiteY4078" fmla="*/ 3546500 h 6858000"/>
              <a:gd name="connsiteX4079" fmla="*/ 1449883 w 6530564"/>
              <a:gd name="connsiteY4079" fmla="*/ 3595205 h 6858000"/>
              <a:gd name="connsiteX4080" fmla="*/ 1454554 w 6530564"/>
              <a:gd name="connsiteY4080" fmla="*/ 3594207 h 6858000"/>
              <a:gd name="connsiteX4081" fmla="*/ 1450880 w 6530564"/>
              <a:gd name="connsiteY4081" fmla="*/ 3599876 h 6858000"/>
              <a:gd name="connsiteX4082" fmla="*/ 1451878 w 6530564"/>
              <a:gd name="connsiteY4082" fmla="*/ 3604549 h 6858000"/>
              <a:gd name="connsiteX4083" fmla="*/ 1457866 w 6530564"/>
              <a:gd name="connsiteY4083" fmla="*/ 3632574 h 6858000"/>
              <a:gd name="connsiteX4084" fmla="*/ 1461993 w 6530564"/>
              <a:gd name="connsiteY4084" fmla="*/ 3635813 h 6858000"/>
              <a:gd name="connsiteX4085" fmla="*/ 1465432 w 6530564"/>
              <a:gd name="connsiteY4085" fmla="*/ 3645315 h 6858000"/>
              <a:gd name="connsiteX4086" fmla="*/ 1464828 w 6530564"/>
              <a:gd name="connsiteY4086" fmla="*/ 3645610 h 6858000"/>
              <a:gd name="connsiteX4087" fmla="*/ 1458859 w 6530564"/>
              <a:gd name="connsiteY4087" fmla="*/ 3645794 h 6858000"/>
              <a:gd name="connsiteX4088" fmla="*/ 1457188 w 6530564"/>
              <a:gd name="connsiteY4088" fmla="*/ 3652257 h 6858000"/>
              <a:gd name="connsiteX4089" fmla="*/ 1464365 w 6530564"/>
              <a:gd name="connsiteY4089" fmla="*/ 3645838 h 6858000"/>
              <a:gd name="connsiteX4090" fmla="*/ 1464828 w 6530564"/>
              <a:gd name="connsiteY4090" fmla="*/ 3645610 h 6858000"/>
              <a:gd name="connsiteX4091" fmla="*/ 1465530 w 6530564"/>
              <a:gd name="connsiteY4091" fmla="*/ 3645589 h 6858000"/>
              <a:gd name="connsiteX4092" fmla="*/ 1465432 w 6530564"/>
              <a:gd name="connsiteY4092" fmla="*/ 3645315 h 6858000"/>
              <a:gd name="connsiteX4093" fmla="*/ 1466575 w 6530564"/>
              <a:gd name="connsiteY4093" fmla="*/ 3644755 h 6858000"/>
              <a:gd name="connsiteX4094" fmla="*/ 1467526 w 6530564"/>
              <a:gd name="connsiteY4094" fmla="*/ 3654930 h 6858000"/>
              <a:gd name="connsiteX4095" fmla="*/ 1463852 w 6530564"/>
              <a:gd name="connsiteY4095" fmla="*/ 3660600 h 6858000"/>
              <a:gd name="connsiteX4096" fmla="*/ 1464851 w 6530564"/>
              <a:gd name="connsiteY4096" fmla="*/ 3665270 h 6858000"/>
              <a:gd name="connsiteX4097" fmla="*/ 1461179 w 6530564"/>
              <a:gd name="connsiteY4097" fmla="*/ 3670939 h 6858000"/>
              <a:gd name="connsiteX4098" fmla="*/ 1462178 w 6530564"/>
              <a:gd name="connsiteY4098" fmla="*/ 3675610 h 6858000"/>
              <a:gd name="connsiteX4099" fmla="*/ 1464173 w 6530564"/>
              <a:gd name="connsiteY4099" fmla="*/ 3684953 h 6858000"/>
              <a:gd name="connsiteX4100" fmla="*/ 1466168 w 6530564"/>
              <a:gd name="connsiteY4100" fmla="*/ 3694296 h 6858000"/>
              <a:gd name="connsiteX4101" fmla="*/ 1463494 w 6530564"/>
              <a:gd name="connsiteY4101" fmla="*/ 3704634 h 6858000"/>
              <a:gd name="connsiteX4102" fmla="*/ 1460818 w 6530564"/>
              <a:gd name="connsiteY4102" fmla="*/ 3714976 h 6858000"/>
              <a:gd name="connsiteX4103" fmla="*/ 1461815 w 6530564"/>
              <a:gd name="connsiteY4103" fmla="*/ 3719645 h 6858000"/>
              <a:gd name="connsiteX4104" fmla="*/ 1462814 w 6530564"/>
              <a:gd name="connsiteY4104" fmla="*/ 3724317 h 6858000"/>
              <a:gd name="connsiteX4105" fmla="*/ 1458143 w 6530564"/>
              <a:gd name="connsiteY4105" fmla="*/ 3725314 h 6858000"/>
              <a:gd name="connsiteX4106" fmla="*/ 1454470 w 6530564"/>
              <a:gd name="connsiteY4106" fmla="*/ 3730983 h 6858000"/>
              <a:gd name="connsiteX4107" fmla="*/ 1455467 w 6530564"/>
              <a:gd name="connsiteY4107" fmla="*/ 3735654 h 6858000"/>
              <a:gd name="connsiteX4108" fmla="*/ 1461137 w 6530564"/>
              <a:gd name="connsiteY4108" fmla="*/ 3739328 h 6858000"/>
              <a:gd name="connsiteX4109" fmla="*/ 1462135 w 6530564"/>
              <a:gd name="connsiteY4109" fmla="*/ 3743998 h 6858000"/>
              <a:gd name="connsiteX4110" fmla="*/ 1463132 w 6530564"/>
              <a:gd name="connsiteY4110" fmla="*/ 3748671 h 6858000"/>
              <a:gd name="connsiteX4111" fmla="*/ 1466126 w 6530564"/>
              <a:gd name="connsiteY4111" fmla="*/ 3762683 h 6858000"/>
              <a:gd name="connsiteX4112" fmla="*/ 1464449 w 6530564"/>
              <a:gd name="connsiteY4112" fmla="*/ 3777695 h 6858000"/>
              <a:gd name="connsiteX4113" fmla="*/ 1465447 w 6530564"/>
              <a:gd name="connsiteY4113" fmla="*/ 3782365 h 6858000"/>
              <a:gd name="connsiteX4114" fmla="*/ 1467443 w 6530564"/>
              <a:gd name="connsiteY4114" fmla="*/ 3791707 h 6858000"/>
              <a:gd name="connsiteX4115" fmla="*/ 1472113 w 6530564"/>
              <a:gd name="connsiteY4115" fmla="*/ 3790710 h 6858000"/>
              <a:gd name="connsiteX4116" fmla="*/ 1468442 w 6530564"/>
              <a:gd name="connsiteY4116" fmla="*/ 3796379 h 6858000"/>
              <a:gd name="connsiteX4117" fmla="*/ 1470437 w 6530564"/>
              <a:gd name="connsiteY4117" fmla="*/ 3805720 h 6858000"/>
              <a:gd name="connsiteX4118" fmla="*/ 1479418 w 6530564"/>
              <a:gd name="connsiteY4118" fmla="*/ 3847759 h 6858000"/>
              <a:gd name="connsiteX4119" fmla="*/ 1475745 w 6530564"/>
              <a:gd name="connsiteY4119" fmla="*/ 3853428 h 6858000"/>
              <a:gd name="connsiteX4120" fmla="*/ 1476743 w 6530564"/>
              <a:gd name="connsiteY4120" fmla="*/ 3858097 h 6858000"/>
              <a:gd name="connsiteX4121" fmla="*/ 1481415 w 6530564"/>
              <a:gd name="connsiteY4121" fmla="*/ 3857100 h 6858000"/>
              <a:gd name="connsiteX4122" fmla="*/ 1481734 w 6530564"/>
              <a:gd name="connsiteY4122" fmla="*/ 3881454 h 6858000"/>
              <a:gd name="connsiteX4123" fmla="*/ 1482731 w 6530564"/>
              <a:gd name="connsiteY4123" fmla="*/ 3886125 h 6858000"/>
              <a:gd name="connsiteX4124" fmla="*/ 1488400 w 6530564"/>
              <a:gd name="connsiteY4124" fmla="*/ 3889796 h 6858000"/>
              <a:gd name="connsiteX4125" fmla="*/ 1490714 w 6530564"/>
              <a:gd name="connsiteY4125" fmla="*/ 3923492 h 6858000"/>
              <a:gd name="connsiteX4126" fmla="*/ 1495385 w 6530564"/>
              <a:gd name="connsiteY4126" fmla="*/ 3922494 h 6858000"/>
              <a:gd name="connsiteX4127" fmla="*/ 1499376 w 6530564"/>
              <a:gd name="connsiteY4127" fmla="*/ 3941178 h 6858000"/>
              <a:gd name="connsiteX4128" fmla="*/ 1495705 w 6530564"/>
              <a:gd name="connsiteY4128" fmla="*/ 3946848 h 6858000"/>
              <a:gd name="connsiteX4129" fmla="*/ 1485365 w 6530564"/>
              <a:gd name="connsiteY4129" fmla="*/ 3944173 h 6858000"/>
              <a:gd name="connsiteX4130" fmla="*/ 1498697 w 6530564"/>
              <a:gd name="connsiteY4130" fmla="*/ 3960861 h 6858000"/>
              <a:gd name="connsiteX4131" fmla="*/ 1519336 w 6530564"/>
              <a:gd name="connsiteY4131" fmla="*/ 4034599 h 6858000"/>
              <a:gd name="connsiteX4132" fmla="*/ 1514664 w 6530564"/>
              <a:gd name="connsiteY4132" fmla="*/ 4035598 h 6858000"/>
              <a:gd name="connsiteX4133" fmla="*/ 1516661 w 6530564"/>
              <a:gd name="connsiteY4133" fmla="*/ 4044938 h 6858000"/>
              <a:gd name="connsiteX4134" fmla="*/ 1528636 w 6530564"/>
              <a:gd name="connsiteY4134" fmla="*/ 4100992 h 6858000"/>
              <a:gd name="connsiteX4135" fmla="*/ 1529635 w 6530564"/>
              <a:gd name="connsiteY4135" fmla="*/ 4105662 h 6858000"/>
              <a:gd name="connsiteX4136" fmla="*/ 1530632 w 6530564"/>
              <a:gd name="connsiteY4136" fmla="*/ 4110333 h 6858000"/>
              <a:gd name="connsiteX4137" fmla="*/ 1543966 w 6530564"/>
              <a:gd name="connsiteY4137" fmla="*/ 4127021 h 6858000"/>
              <a:gd name="connsiteX4138" fmla="*/ 1541290 w 6530564"/>
              <a:gd name="connsiteY4138" fmla="*/ 4137361 h 6858000"/>
              <a:gd name="connsiteX4139" fmla="*/ 1542289 w 6530564"/>
              <a:gd name="connsiteY4139" fmla="*/ 4142032 h 6858000"/>
              <a:gd name="connsiteX4140" fmla="*/ 1543286 w 6530564"/>
              <a:gd name="connsiteY4140" fmla="*/ 4146702 h 6858000"/>
              <a:gd name="connsiteX4141" fmla="*/ 1544284 w 6530564"/>
              <a:gd name="connsiteY4141" fmla="*/ 4151374 h 6858000"/>
              <a:gd name="connsiteX4142" fmla="*/ 1538933 w 6530564"/>
              <a:gd name="connsiteY4142" fmla="*/ 4172054 h 6858000"/>
              <a:gd name="connsiteX4143" fmla="*/ 1550590 w 6530564"/>
              <a:gd name="connsiteY4143" fmla="*/ 4203753 h 6858000"/>
              <a:gd name="connsiteX4144" fmla="*/ 1569592 w 6530564"/>
              <a:gd name="connsiteY4144" fmla="*/ 4224113 h 6858000"/>
              <a:gd name="connsiteX4145" fmla="*/ 1565241 w 6530564"/>
              <a:gd name="connsiteY4145" fmla="*/ 4249466 h 6858000"/>
              <a:gd name="connsiteX4146" fmla="*/ 1574902 w 6530564"/>
              <a:gd name="connsiteY4146" fmla="*/ 4271822 h 6858000"/>
              <a:gd name="connsiteX4147" fmla="*/ 1587238 w 6530564"/>
              <a:gd name="connsiteY4147" fmla="*/ 4283840 h 6858000"/>
              <a:gd name="connsiteX4148" fmla="*/ 1604882 w 6530564"/>
              <a:gd name="connsiteY4148" fmla="*/ 4343564 h 6858000"/>
              <a:gd name="connsiteX4149" fmla="*/ 1595539 w 6530564"/>
              <a:gd name="connsiteY4149" fmla="*/ 4345560 h 6858000"/>
              <a:gd name="connsiteX4150" fmla="*/ 1607875 w 6530564"/>
              <a:gd name="connsiteY4150" fmla="*/ 4357577 h 6858000"/>
              <a:gd name="connsiteX4151" fmla="*/ 1607196 w 6530564"/>
              <a:gd name="connsiteY4151" fmla="*/ 4377259 h 6858000"/>
              <a:gd name="connsiteX4152" fmla="*/ 1622525 w 6530564"/>
              <a:gd name="connsiteY4152" fmla="*/ 4403290 h 6858000"/>
              <a:gd name="connsiteX4153" fmla="*/ 1618736 w 6530564"/>
              <a:gd name="connsiteY4153" fmla="*/ 4400103 h 6858000"/>
              <a:gd name="connsiteX4154" fmla="*/ 1614862 w 6530564"/>
              <a:gd name="connsiteY4154" fmla="*/ 4390275 h 6858000"/>
              <a:gd name="connsiteX4155" fmla="*/ 1617316 w 6530564"/>
              <a:gd name="connsiteY4155" fmla="*/ 4398908 h 6858000"/>
              <a:gd name="connsiteX4156" fmla="*/ 1618736 w 6530564"/>
              <a:gd name="connsiteY4156" fmla="*/ 4400103 h 6858000"/>
              <a:gd name="connsiteX4157" fmla="*/ 1625519 w 6530564"/>
              <a:gd name="connsiteY4157" fmla="*/ 4417302 h 6858000"/>
              <a:gd name="connsiteX4158" fmla="*/ 1611506 w 6530564"/>
              <a:gd name="connsiteY4158" fmla="*/ 4420296 h 6858000"/>
              <a:gd name="connsiteX4159" fmla="*/ 1580528 w 6530564"/>
              <a:gd name="connsiteY4159" fmla="*/ 4343884 h 6858000"/>
              <a:gd name="connsiteX4160" fmla="*/ 1553861 w 6530564"/>
              <a:gd name="connsiteY4160" fmla="*/ 4310507 h 6858000"/>
              <a:gd name="connsiteX4161" fmla="*/ 1544200 w 6530564"/>
              <a:gd name="connsiteY4161" fmla="*/ 4288151 h 6858000"/>
              <a:gd name="connsiteX4162" fmla="*/ 1540208 w 6530564"/>
              <a:gd name="connsiteY4162" fmla="*/ 4269467 h 6858000"/>
              <a:gd name="connsiteX4163" fmla="*/ 1526874 w 6530564"/>
              <a:gd name="connsiteY4163" fmla="*/ 4252779 h 6858000"/>
              <a:gd name="connsiteX4164" fmla="*/ 1519888 w 6530564"/>
              <a:gd name="connsiteY4164" fmla="*/ 4220081 h 6858000"/>
              <a:gd name="connsiteX4165" fmla="*/ 1521566 w 6530564"/>
              <a:gd name="connsiteY4165" fmla="*/ 4205070 h 6858000"/>
              <a:gd name="connsiteX4166" fmla="*/ 1518573 w 6530564"/>
              <a:gd name="connsiteY4166" fmla="*/ 4191057 h 6858000"/>
              <a:gd name="connsiteX4167" fmla="*/ 1517576 w 6530564"/>
              <a:gd name="connsiteY4167" fmla="*/ 4186384 h 6858000"/>
              <a:gd name="connsiteX4168" fmla="*/ 1516577 w 6530564"/>
              <a:gd name="connsiteY4168" fmla="*/ 4181714 h 6858000"/>
              <a:gd name="connsiteX4169" fmla="*/ 1522245 w 6530564"/>
              <a:gd name="connsiteY4169" fmla="*/ 4185387 h 6858000"/>
              <a:gd name="connsiteX4170" fmla="*/ 1513583 w 6530564"/>
              <a:gd name="connsiteY4170" fmla="*/ 4167702 h 6858000"/>
              <a:gd name="connsiteX4171" fmla="*/ 1517256 w 6530564"/>
              <a:gd name="connsiteY4171" fmla="*/ 4162033 h 6858000"/>
              <a:gd name="connsiteX4172" fmla="*/ 1516257 w 6530564"/>
              <a:gd name="connsiteY4172" fmla="*/ 4157362 h 6858000"/>
              <a:gd name="connsiteX4173" fmla="*/ 1515260 w 6530564"/>
              <a:gd name="connsiteY4173" fmla="*/ 4152691 h 6858000"/>
              <a:gd name="connsiteX4174" fmla="*/ 1509591 w 6530564"/>
              <a:gd name="connsiteY4174" fmla="*/ 4149018 h 6858000"/>
              <a:gd name="connsiteX4175" fmla="*/ 1503605 w 6530564"/>
              <a:gd name="connsiteY4175" fmla="*/ 4120992 h 6858000"/>
              <a:gd name="connsiteX4176" fmla="*/ 1497934 w 6530564"/>
              <a:gd name="connsiteY4176" fmla="*/ 4117319 h 6858000"/>
              <a:gd name="connsiteX4177" fmla="*/ 1491948 w 6530564"/>
              <a:gd name="connsiteY4177" fmla="*/ 4089292 h 6858000"/>
              <a:gd name="connsiteX4178" fmla="*/ 1490948 w 6530564"/>
              <a:gd name="connsiteY4178" fmla="*/ 4084621 h 6858000"/>
              <a:gd name="connsiteX4179" fmla="*/ 1489951 w 6530564"/>
              <a:gd name="connsiteY4179" fmla="*/ 4079950 h 6858000"/>
              <a:gd name="connsiteX4180" fmla="*/ 1486277 w 6530564"/>
              <a:gd name="connsiteY4180" fmla="*/ 4085620 h 6858000"/>
              <a:gd name="connsiteX4181" fmla="*/ 1475301 w 6530564"/>
              <a:gd name="connsiteY4181" fmla="*/ 4034238 h 6858000"/>
              <a:gd name="connsiteX4182" fmla="*/ 1478294 w 6530564"/>
              <a:gd name="connsiteY4182" fmla="*/ 4048252 h 6858000"/>
              <a:gd name="connsiteX4183" fmla="*/ 1470629 w 6530564"/>
              <a:gd name="connsiteY4183" fmla="*/ 4035237 h 6858000"/>
              <a:gd name="connsiteX4184" fmla="*/ 1473623 w 6530564"/>
              <a:gd name="connsiteY4184" fmla="*/ 4049251 h 6858000"/>
              <a:gd name="connsiteX4185" fmla="*/ 1467954 w 6530564"/>
              <a:gd name="connsiteY4185" fmla="*/ 4045576 h 6858000"/>
              <a:gd name="connsiteX4186" fmla="*/ 1469951 w 6530564"/>
              <a:gd name="connsiteY4186" fmla="*/ 4054918 h 6858000"/>
              <a:gd name="connsiteX4187" fmla="*/ 1470949 w 6530564"/>
              <a:gd name="connsiteY4187" fmla="*/ 4059589 h 6858000"/>
              <a:gd name="connsiteX4188" fmla="*/ 1463242 w 6530564"/>
              <a:gd name="connsiteY4188" fmla="*/ 4114962 h 6858000"/>
              <a:gd name="connsiteX4189" fmla="*/ 1465238 w 6530564"/>
              <a:gd name="connsiteY4189" fmla="*/ 4124305 h 6858000"/>
              <a:gd name="connsiteX4190" fmla="*/ 1454896 w 6530564"/>
              <a:gd name="connsiteY4190" fmla="*/ 4121629 h 6858000"/>
              <a:gd name="connsiteX4191" fmla="*/ 1452901 w 6530564"/>
              <a:gd name="connsiteY4191" fmla="*/ 4112288 h 6858000"/>
              <a:gd name="connsiteX4192" fmla="*/ 1448230 w 6530564"/>
              <a:gd name="connsiteY4192" fmla="*/ 4113286 h 6858000"/>
              <a:gd name="connsiteX4193" fmla="*/ 1449228 w 6530564"/>
              <a:gd name="connsiteY4193" fmla="*/ 4117957 h 6858000"/>
              <a:gd name="connsiteX4194" fmla="*/ 1426595 w 6530564"/>
              <a:gd name="connsiteY4194" fmla="*/ 4034876 h 6858000"/>
              <a:gd name="connsiteX4195" fmla="*/ 1432264 w 6530564"/>
              <a:gd name="connsiteY4195" fmla="*/ 4038549 h 6858000"/>
              <a:gd name="connsiteX4196" fmla="*/ 1435937 w 6530564"/>
              <a:gd name="connsiteY4196" fmla="*/ 4032880 h 6858000"/>
              <a:gd name="connsiteX4197" fmla="*/ 1437931 w 6530564"/>
              <a:gd name="connsiteY4197" fmla="*/ 4042221 h 6858000"/>
              <a:gd name="connsiteX4198" fmla="*/ 1426954 w 6530564"/>
              <a:gd name="connsiteY4198" fmla="*/ 3990842 h 6858000"/>
              <a:gd name="connsiteX4199" fmla="*/ 1431626 w 6530564"/>
              <a:gd name="connsiteY4199" fmla="*/ 3989844 h 6858000"/>
              <a:gd name="connsiteX4200" fmla="*/ 1430629 w 6530564"/>
              <a:gd name="connsiteY4200" fmla="*/ 3985172 h 6858000"/>
              <a:gd name="connsiteX4201" fmla="*/ 1428631 w 6530564"/>
              <a:gd name="connsiteY4201" fmla="*/ 3975830 h 6858000"/>
              <a:gd name="connsiteX4202" fmla="*/ 1421646 w 6530564"/>
              <a:gd name="connsiteY4202" fmla="*/ 3943133 h 6858000"/>
              <a:gd name="connsiteX4203" fmla="*/ 1420648 w 6530564"/>
              <a:gd name="connsiteY4203" fmla="*/ 3938462 h 6858000"/>
              <a:gd name="connsiteX4204" fmla="*/ 1419652 w 6530564"/>
              <a:gd name="connsiteY4204" fmla="*/ 3933790 h 6858000"/>
              <a:gd name="connsiteX4205" fmla="*/ 1405000 w 6530564"/>
              <a:gd name="connsiteY4205" fmla="*/ 3888080 h 6858000"/>
              <a:gd name="connsiteX4206" fmla="*/ 1404002 w 6530564"/>
              <a:gd name="connsiteY4206" fmla="*/ 3883408 h 6858000"/>
              <a:gd name="connsiteX4207" fmla="*/ 1403004 w 6530564"/>
              <a:gd name="connsiteY4207" fmla="*/ 3878736 h 6858000"/>
              <a:gd name="connsiteX4208" fmla="*/ 1401007 w 6530564"/>
              <a:gd name="connsiteY4208" fmla="*/ 3869395 h 6858000"/>
              <a:gd name="connsiteX4209" fmla="*/ 1398335 w 6530564"/>
              <a:gd name="connsiteY4209" fmla="*/ 3879735 h 6858000"/>
              <a:gd name="connsiteX4210" fmla="*/ 1394660 w 6530564"/>
              <a:gd name="connsiteY4210" fmla="*/ 3885404 h 6858000"/>
              <a:gd name="connsiteX4211" fmla="*/ 1390668 w 6530564"/>
              <a:gd name="connsiteY4211" fmla="*/ 3866720 h 6858000"/>
              <a:gd name="connsiteX4212" fmla="*/ 1395340 w 6530564"/>
              <a:gd name="connsiteY4212" fmla="*/ 3865721 h 6858000"/>
              <a:gd name="connsiteX4213" fmla="*/ 1394342 w 6530564"/>
              <a:gd name="connsiteY4213" fmla="*/ 3861051 h 6858000"/>
              <a:gd name="connsiteX4214" fmla="*/ 1393344 w 6530564"/>
              <a:gd name="connsiteY4214" fmla="*/ 3856381 h 6858000"/>
              <a:gd name="connsiteX4215" fmla="*/ 1388672 w 6530564"/>
              <a:gd name="connsiteY4215" fmla="*/ 3857379 h 6858000"/>
              <a:gd name="connsiteX4216" fmla="*/ 1393024 w 6530564"/>
              <a:gd name="connsiteY4216" fmla="*/ 3832027 h 6858000"/>
              <a:gd name="connsiteX4217" fmla="*/ 1380689 w 6530564"/>
              <a:gd name="connsiteY4217" fmla="*/ 3820009 h 6858000"/>
              <a:gd name="connsiteX4218" fmla="*/ 1383004 w 6530564"/>
              <a:gd name="connsiteY4218" fmla="*/ 3853705 h 6858000"/>
              <a:gd name="connsiteX4219" fmla="*/ 1388672 w 6530564"/>
              <a:gd name="connsiteY4219" fmla="*/ 3857379 h 6858000"/>
              <a:gd name="connsiteX4220" fmla="*/ 1384002 w 6530564"/>
              <a:gd name="connsiteY4220" fmla="*/ 3858376 h 6858000"/>
              <a:gd name="connsiteX4221" fmla="*/ 1385000 w 6530564"/>
              <a:gd name="connsiteY4221" fmla="*/ 3863047 h 6858000"/>
              <a:gd name="connsiteX4222" fmla="*/ 1385998 w 6530564"/>
              <a:gd name="connsiteY4222" fmla="*/ 3867719 h 6858000"/>
              <a:gd name="connsiteX4223" fmla="*/ 1390668 w 6530564"/>
              <a:gd name="connsiteY4223" fmla="*/ 3866720 h 6858000"/>
              <a:gd name="connsiteX4224" fmla="*/ 1393163 w 6530564"/>
              <a:gd name="connsiteY4224" fmla="*/ 3878397 h 6858000"/>
              <a:gd name="connsiteX4225" fmla="*/ 1394660 w 6530564"/>
              <a:gd name="connsiteY4225" fmla="*/ 3885404 h 6858000"/>
              <a:gd name="connsiteX4226" fmla="*/ 1395658 w 6530564"/>
              <a:gd name="connsiteY4226" fmla="*/ 3890075 h 6858000"/>
              <a:gd name="connsiteX4227" fmla="*/ 1390987 w 6530564"/>
              <a:gd name="connsiteY4227" fmla="*/ 3891074 h 6858000"/>
              <a:gd name="connsiteX4228" fmla="*/ 1391984 w 6530564"/>
              <a:gd name="connsiteY4228" fmla="*/ 3895744 h 6858000"/>
              <a:gd name="connsiteX4229" fmla="*/ 1392983 w 6530564"/>
              <a:gd name="connsiteY4229" fmla="*/ 3900415 h 6858000"/>
              <a:gd name="connsiteX4230" fmla="*/ 1420606 w 6530564"/>
              <a:gd name="connsiteY4230" fmla="*/ 4006850 h 6858000"/>
              <a:gd name="connsiteX4231" fmla="*/ 1415936 w 6530564"/>
              <a:gd name="connsiteY4231" fmla="*/ 4007847 h 6858000"/>
              <a:gd name="connsiteX4232" fmla="*/ 1417931 w 6530564"/>
              <a:gd name="connsiteY4232" fmla="*/ 4017190 h 6858000"/>
              <a:gd name="connsiteX4233" fmla="*/ 1421923 w 6530564"/>
              <a:gd name="connsiteY4233" fmla="*/ 4035875 h 6858000"/>
              <a:gd name="connsiteX4234" fmla="*/ 1437890 w 6530564"/>
              <a:gd name="connsiteY4234" fmla="*/ 4110609 h 6858000"/>
              <a:gd name="connsiteX4235" fmla="*/ 1458528 w 6530564"/>
              <a:gd name="connsiteY4235" fmla="*/ 4184349 h 6858000"/>
              <a:gd name="connsiteX4236" fmla="*/ 1462839 w 6530564"/>
              <a:gd name="connsiteY4236" fmla="*/ 4227385 h 6858000"/>
              <a:gd name="connsiteX4237" fmla="*/ 1456490 w 6530564"/>
              <a:gd name="connsiteY4237" fmla="*/ 4243395 h 6858000"/>
              <a:gd name="connsiteX4238" fmla="*/ 1468105 w 6530564"/>
              <a:gd name="connsiteY4238" fmla="*/ 4343482 h 6858000"/>
              <a:gd name="connsiteX4239" fmla="*/ 1461439 w 6530564"/>
              <a:gd name="connsiteY4239" fmla="*/ 4335137 h 6858000"/>
              <a:gd name="connsiteX4240" fmla="*/ 1454730 w 6530564"/>
              <a:gd name="connsiteY4240" fmla="*/ 4395182 h 6858000"/>
              <a:gd name="connsiteX4241" fmla="*/ 1448063 w 6530564"/>
              <a:gd name="connsiteY4241" fmla="*/ 4386836 h 6858000"/>
              <a:gd name="connsiteX4242" fmla="*/ 1450058 w 6530564"/>
              <a:gd name="connsiteY4242" fmla="*/ 4396179 h 6858000"/>
              <a:gd name="connsiteX4243" fmla="*/ 1422075 w 6530564"/>
              <a:gd name="connsiteY4243" fmla="*/ 4333778 h 6858000"/>
              <a:gd name="connsiteX4244" fmla="*/ 1413412 w 6530564"/>
              <a:gd name="connsiteY4244" fmla="*/ 4316093 h 6858000"/>
              <a:gd name="connsiteX4245" fmla="*/ 1412414 w 6530564"/>
              <a:gd name="connsiteY4245" fmla="*/ 4311422 h 6858000"/>
              <a:gd name="connsiteX4246" fmla="*/ 1407741 w 6530564"/>
              <a:gd name="connsiteY4246" fmla="*/ 4312421 h 6858000"/>
              <a:gd name="connsiteX4247" fmla="*/ 1402752 w 6530564"/>
              <a:gd name="connsiteY4247" fmla="*/ 4289064 h 6858000"/>
              <a:gd name="connsiteX4248" fmla="*/ 1393410 w 6530564"/>
              <a:gd name="connsiteY4248" fmla="*/ 4291060 h 6858000"/>
              <a:gd name="connsiteX4249" fmla="*/ 1396404 w 6530564"/>
              <a:gd name="connsiteY4249" fmla="*/ 4305073 h 6858000"/>
              <a:gd name="connsiteX4250" fmla="*/ 1407063 w 6530564"/>
              <a:gd name="connsiteY4250" fmla="*/ 4332102 h 6858000"/>
              <a:gd name="connsiteX4251" fmla="*/ 1419993 w 6530564"/>
              <a:gd name="connsiteY4251" fmla="*/ 4461213 h 6858000"/>
              <a:gd name="connsiteX4252" fmla="*/ 1412648 w 6530564"/>
              <a:gd name="connsiteY4252" fmla="*/ 4472550 h 6858000"/>
              <a:gd name="connsiteX4253" fmla="*/ 1404983 w 6530564"/>
              <a:gd name="connsiteY4253" fmla="*/ 4459535 h 6858000"/>
              <a:gd name="connsiteX4254" fmla="*/ 1403985 w 6530564"/>
              <a:gd name="connsiteY4254" fmla="*/ 4454865 h 6858000"/>
              <a:gd name="connsiteX4255" fmla="*/ 1398316 w 6530564"/>
              <a:gd name="connsiteY4255" fmla="*/ 4451189 h 6858000"/>
              <a:gd name="connsiteX4256" fmla="*/ 1399315 w 6530564"/>
              <a:gd name="connsiteY4256" fmla="*/ 4455862 h 6858000"/>
              <a:gd name="connsiteX4257" fmla="*/ 1400312 w 6530564"/>
              <a:gd name="connsiteY4257" fmla="*/ 4460533 h 6858000"/>
              <a:gd name="connsiteX4258" fmla="*/ 1393645 w 6530564"/>
              <a:gd name="connsiteY4258" fmla="*/ 4452188 h 6858000"/>
              <a:gd name="connsiteX4259" fmla="*/ 1388655 w 6530564"/>
              <a:gd name="connsiteY4259" fmla="*/ 4428834 h 6858000"/>
              <a:gd name="connsiteX4260" fmla="*/ 1396421 w 6530564"/>
              <a:gd name="connsiteY4260" fmla="*/ 4442316 h 6858000"/>
              <a:gd name="connsiteX4261" fmla="*/ 1397319 w 6530564"/>
              <a:gd name="connsiteY4261" fmla="*/ 4446519 h 6858000"/>
              <a:gd name="connsiteX4262" fmla="*/ 1398362 w 6530564"/>
              <a:gd name="connsiteY4262" fmla="*/ 4445687 h 6858000"/>
              <a:gd name="connsiteX4263" fmla="*/ 1396421 w 6530564"/>
              <a:gd name="connsiteY4263" fmla="*/ 4442316 h 6858000"/>
              <a:gd name="connsiteX4264" fmla="*/ 1394700 w 6530564"/>
              <a:gd name="connsiteY4264" fmla="*/ 4434259 h 6858000"/>
              <a:gd name="connsiteX4265" fmla="*/ 1394325 w 6530564"/>
              <a:gd name="connsiteY4265" fmla="*/ 4432507 h 6858000"/>
              <a:gd name="connsiteX4266" fmla="*/ 1398995 w 6530564"/>
              <a:gd name="connsiteY4266" fmla="*/ 4431508 h 6858000"/>
              <a:gd name="connsiteX4267" fmla="*/ 1397996 w 6530564"/>
              <a:gd name="connsiteY4267" fmla="*/ 4426838 h 6858000"/>
              <a:gd name="connsiteX4268" fmla="*/ 1397000 w 6530564"/>
              <a:gd name="connsiteY4268" fmla="*/ 4422167 h 6858000"/>
              <a:gd name="connsiteX4269" fmla="*/ 1392329 w 6530564"/>
              <a:gd name="connsiteY4269" fmla="*/ 4423164 h 6858000"/>
              <a:gd name="connsiteX4270" fmla="*/ 1385662 w 6530564"/>
              <a:gd name="connsiteY4270" fmla="*/ 4414822 h 6858000"/>
              <a:gd name="connsiteX4271" fmla="*/ 1384664 w 6530564"/>
              <a:gd name="connsiteY4271" fmla="*/ 4410150 h 6858000"/>
              <a:gd name="connsiteX4272" fmla="*/ 1383666 w 6530564"/>
              <a:gd name="connsiteY4272" fmla="*/ 4405478 h 6858000"/>
              <a:gd name="connsiteX4273" fmla="*/ 1378801 w 6530564"/>
              <a:gd name="connsiteY4273" fmla="*/ 4382708 h 6858000"/>
              <a:gd name="connsiteX4274" fmla="*/ 1377677 w 6530564"/>
              <a:gd name="connsiteY4274" fmla="*/ 4377453 h 6858000"/>
              <a:gd name="connsiteX4275" fmla="*/ 1377996 w 6530564"/>
              <a:gd name="connsiteY4275" fmla="*/ 4401807 h 6858000"/>
              <a:gd name="connsiteX4276" fmla="*/ 1364344 w 6530564"/>
              <a:gd name="connsiteY4276" fmla="*/ 4360763 h 6858000"/>
              <a:gd name="connsiteX4277" fmla="*/ 1349899 w 6530564"/>
              <a:gd name="connsiteY4277" fmla="*/ 4354235 h 6858000"/>
              <a:gd name="connsiteX4278" fmla="*/ 1345078 w 6530564"/>
              <a:gd name="connsiteY4278" fmla="*/ 4351907 h 6858000"/>
              <a:gd name="connsiteX4279" fmla="*/ 1348800 w 6530564"/>
              <a:gd name="connsiteY4279" fmla="*/ 4372250 h 6858000"/>
              <a:gd name="connsiteX4280" fmla="*/ 1379072 w 6530564"/>
              <a:gd name="connsiteY4280" fmla="*/ 4419338 h 6858000"/>
              <a:gd name="connsiteX4281" fmla="*/ 1389836 w 6530564"/>
              <a:gd name="connsiteY4281" fmla="*/ 4454318 h 6858000"/>
              <a:gd name="connsiteX4282" fmla="*/ 1411363 w 6530564"/>
              <a:gd name="connsiteY4282" fmla="*/ 4524275 h 6858000"/>
              <a:gd name="connsiteX4283" fmla="*/ 1509583 w 6530564"/>
              <a:gd name="connsiteY4283" fmla="*/ 4667558 h 6858000"/>
              <a:gd name="connsiteX4284" fmla="*/ 1577273 w 6530564"/>
              <a:gd name="connsiteY4284" fmla="*/ 4795718 h 6858000"/>
              <a:gd name="connsiteX4285" fmla="*/ 1579917 w 6530564"/>
              <a:gd name="connsiteY4285" fmla="*/ 4798245 h 6858000"/>
              <a:gd name="connsiteX4286" fmla="*/ 1576604 w 6530564"/>
              <a:gd name="connsiteY4286" fmla="*/ 4759879 h 6858000"/>
              <a:gd name="connsiteX4287" fmla="*/ 1731897 w 6530564"/>
              <a:gd name="connsiteY4287" fmla="*/ 5029523 h 6858000"/>
              <a:gd name="connsiteX4288" fmla="*/ 1728521 w 6530564"/>
              <a:gd name="connsiteY4288" fmla="*/ 5034733 h 6858000"/>
              <a:gd name="connsiteX4289" fmla="*/ 1864742 w 6530564"/>
              <a:gd name="connsiteY4289" fmla="*/ 5210497 h 6858000"/>
              <a:gd name="connsiteX4290" fmla="*/ 1960966 w 6530564"/>
              <a:gd name="connsiteY4290" fmla="*/ 5314141 h 6858000"/>
              <a:gd name="connsiteX4291" fmla="*/ 1964240 w 6530564"/>
              <a:gd name="connsiteY4291" fmla="*/ 5316895 h 6858000"/>
              <a:gd name="connsiteX4292" fmla="*/ 1966833 w 6530564"/>
              <a:gd name="connsiteY4292" fmla="*/ 5320459 h 6858000"/>
              <a:gd name="connsiteX4293" fmla="*/ 2003292 w 6530564"/>
              <a:gd name="connsiteY4293" fmla="*/ 5359731 h 6858000"/>
              <a:gd name="connsiteX4294" fmla="*/ 2005134 w 6530564"/>
              <a:gd name="connsiteY4294" fmla="*/ 5358985 h 6858000"/>
              <a:gd name="connsiteX4295" fmla="*/ 2013584 w 6530564"/>
              <a:gd name="connsiteY4295" fmla="*/ 5364962 h 6858000"/>
              <a:gd name="connsiteX4296" fmla="*/ 2011996 w 6530564"/>
              <a:gd name="connsiteY4296" fmla="*/ 5368965 h 6858000"/>
              <a:gd name="connsiteX4297" fmla="*/ 2012621 w 6530564"/>
              <a:gd name="connsiteY4297" fmla="*/ 5369779 h 6858000"/>
              <a:gd name="connsiteX4298" fmla="*/ 2021956 w 6530564"/>
              <a:gd name="connsiteY4298" fmla="*/ 5379834 h 6858000"/>
              <a:gd name="connsiteX4299" fmla="*/ 2059336 w 6530564"/>
              <a:gd name="connsiteY4299" fmla="*/ 5413704 h 6858000"/>
              <a:gd name="connsiteX4300" fmla="*/ 2059384 w 6530564"/>
              <a:gd name="connsiteY4300" fmla="*/ 5410736 h 6858000"/>
              <a:gd name="connsiteX4301" fmla="*/ 2055262 w 6530564"/>
              <a:gd name="connsiteY4301" fmla="*/ 5400017 h 6858000"/>
              <a:gd name="connsiteX4302" fmla="*/ 2068636 w 6530564"/>
              <a:gd name="connsiteY4302" fmla="*/ 5419749 h 6858000"/>
              <a:gd name="connsiteX4303" fmla="*/ 2074568 w 6530564"/>
              <a:gd name="connsiteY4303" fmla="*/ 5427506 h 6858000"/>
              <a:gd name="connsiteX4304" fmla="*/ 2093075 w 6530564"/>
              <a:gd name="connsiteY4304" fmla="*/ 5444275 h 6858000"/>
              <a:gd name="connsiteX4305" fmla="*/ 2096976 w 6530564"/>
              <a:gd name="connsiteY4305" fmla="*/ 5446663 h 6858000"/>
              <a:gd name="connsiteX4306" fmla="*/ 2101272 w 6530564"/>
              <a:gd name="connsiteY4306" fmla="*/ 5451702 h 6858000"/>
              <a:gd name="connsiteX4307" fmla="*/ 2190614 w 6530564"/>
              <a:gd name="connsiteY4307" fmla="*/ 5532655 h 6858000"/>
              <a:gd name="connsiteX4308" fmla="*/ 2190957 w 6530564"/>
              <a:gd name="connsiteY4308" fmla="*/ 5532205 h 6858000"/>
              <a:gd name="connsiteX4309" fmla="*/ 2192913 w 6530564"/>
              <a:gd name="connsiteY4309" fmla="*/ 5534621 h 6858000"/>
              <a:gd name="connsiteX4310" fmla="*/ 2345065 w 6530564"/>
              <a:gd name="connsiteY4310" fmla="*/ 5651238 h 6858000"/>
              <a:gd name="connsiteX4311" fmla="*/ 2345801 w 6530564"/>
              <a:gd name="connsiteY4311" fmla="*/ 5651144 h 6858000"/>
              <a:gd name="connsiteX4312" fmla="*/ 2353680 w 6530564"/>
              <a:gd name="connsiteY4312" fmla="*/ 5653734 h 6858000"/>
              <a:gd name="connsiteX4313" fmla="*/ 2354677 w 6530564"/>
              <a:gd name="connsiteY4313" fmla="*/ 5658406 h 6858000"/>
              <a:gd name="connsiteX4314" fmla="*/ 2354729 w 6530564"/>
              <a:gd name="connsiteY4314" fmla="*/ 5658644 h 6858000"/>
              <a:gd name="connsiteX4315" fmla="*/ 2365695 w 6530564"/>
              <a:gd name="connsiteY4315" fmla="*/ 5667049 h 6858000"/>
              <a:gd name="connsiteX4316" fmla="*/ 2371685 w 6530564"/>
              <a:gd name="connsiteY4316" fmla="*/ 5669425 h 6858000"/>
              <a:gd name="connsiteX4317" fmla="*/ 2370688 w 6530564"/>
              <a:gd name="connsiteY4317" fmla="*/ 5664753 h 6858000"/>
              <a:gd name="connsiteX4318" fmla="*/ 2369689 w 6530564"/>
              <a:gd name="connsiteY4318" fmla="*/ 5660084 h 6858000"/>
              <a:gd name="connsiteX4319" fmla="*/ 2387695 w 6530564"/>
              <a:gd name="connsiteY4319" fmla="*/ 5675773 h 6858000"/>
              <a:gd name="connsiteX4320" fmla="*/ 2388692 w 6530564"/>
              <a:gd name="connsiteY4320" fmla="*/ 5680444 h 6858000"/>
              <a:gd name="connsiteX4321" fmla="*/ 2394361 w 6530564"/>
              <a:gd name="connsiteY4321" fmla="*/ 5684116 h 6858000"/>
              <a:gd name="connsiteX4322" fmla="*/ 2400030 w 6530564"/>
              <a:gd name="connsiteY4322" fmla="*/ 5687790 h 6858000"/>
              <a:gd name="connsiteX4323" fmla="*/ 2405825 w 6530564"/>
              <a:gd name="connsiteY4323" fmla="*/ 5692047 h 6858000"/>
              <a:gd name="connsiteX4324" fmla="*/ 2409797 w 6530564"/>
              <a:gd name="connsiteY4324" fmla="*/ 5696759 h 6858000"/>
              <a:gd name="connsiteX4325" fmla="*/ 2414794 w 6530564"/>
              <a:gd name="connsiteY4325" fmla="*/ 5700011 h 6858000"/>
              <a:gd name="connsiteX4326" fmla="*/ 2432881 w 6530564"/>
              <a:gd name="connsiteY4326" fmla="*/ 5701530 h 6858000"/>
              <a:gd name="connsiteX4327" fmla="*/ 2441390 w 6530564"/>
              <a:gd name="connsiteY4327" fmla="*/ 5698491 h 6858000"/>
              <a:gd name="connsiteX4328" fmla="*/ 2430801 w 6530564"/>
              <a:gd name="connsiteY4328" fmla="*/ 5694648 h 6858000"/>
              <a:gd name="connsiteX4329" fmla="*/ 2423109 w 6530564"/>
              <a:gd name="connsiteY4329" fmla="*/ 5687744 h 6858000"/>
              <a:gd name="connsiteX4330" fmla="*/ 2429054 w 6530564"/>
              <a:gd name="connsiteY4330" fmla="*/ 5686473 h 6858000"/>
              <a:gd name="connsiteX4331" fmla="*/ 2503749 w 6530564"/>
              <a:gd name="connsiteY4331" fmla="*/ 5738894 h 6858000"/>
              <a:gd name="connsiteX4332" fmla="*/ 2509419 w 6530564"/>
              <a:gd name="connsiteY4332" fmla="*/ 5742568 h 6858000"/>
              <a:gd name="connsiteX4333" fmla="*/ 2500075 w 6530564"/>
              <a:gd name="connsiteY4333" fmla="*/ 5744562 h 6858000"/>
              <a:gd name="connsiteX4334" fmla="*/ 2519077 w 6530564"/>
              <a:gd name="connsiteY4334" fmla="*/ 5764924 h 6858000"/>
              <a:gd name="connsiteX4335" fmla="*/ 2540756 w 6530564"/>
              <a:gd name="connsiteY4335" fmla="*/ 5774946 h 6858000"/>
              <a:gd name="connsiteX4336" fmla="*/ 2545427 w 6530564"/>
              <a:gd name="connsiteY4336" fmla="*/ 5773948 h 6858000"/>
              <a:gd name="connsiteX4337" fmla="*/ 2550097 w 6530564"/>
              <a:gd name="connsiteY4337" fmla="*/ 5772950 h 6858000"/>
              <a:gd name="connsiteX4338" fmla="*/ 2572773 w 6530564"/>
              <a:gd name="connsiteY4338" fmla="*/ 5787641 h 6858000"/>
              <a:gd name="connsiteX4339" fmla="*/ 2582118 w 6530564"/>
              <a:gd name="connsiteY4339" fmla="*/ 5785645 h 6858000"/>
              <a:gd name="connsiteX4340" fmla="*/ 2650143 w 6530564"/>
              <a:gd name="connsiteY4340" fmla="*/ 5829723 h 6858000"/>
              <a:gd name="connsiteX4341" fmla="*/ 2670824 w 6530564"/>
              <a:gd name="connsiteY4341" fmla="*/ 5835072 h 6858000"/>
              <a:gd name="connsiteX4342" fmla="*/ 2684158 w 6530564"/>
              <a:gd name="connsiteY4342" fmla="*/ 5851761 h 6858000"/>
              <a:gd name="connsiteX4343" fmla="*/ 2874588 w 6530564"/>
              <a:gd name="connsiteY4343" fmla="*/ 5942950 h 6858000"/>
              <a:gd name="connsiteX4344" fmla="*/ 2956629 w 6530564"/>
              <a:gd name="connsiteY4344" fmla="*/ 5984033 h 6858000"/>
              <a:gd name="connsiteX4345" fmla="*/ 3003657 w 6530564"/>
              <a:gd name="connsiteY4345" fmla="*/ 5998405 h 6858000"/>
              <a:gd name="connsiteX4346" fmla="*/ 3010325 w 6530564"/>
              <a:gd name="connsiteY4346" fmla="*/ 6006750 h 6858000"/>
              <a:gd name="connsiteX4347" fmla="*/ 3052682 w 6530564"/>
              <a:gd name="connsiteY4347" fmla="*/ 6022121 h 6858000"/>
              <a:gd name="connsiteX4348" fmla="*/ 3132727 w 6530564"/>
              <a:gd name="connsiteY4348" fmla="*/ 6053863 h 6858000"/>
              <a:gd name="connsiteX4349" fmla="*/ 3306831 w 6530564"/>
              <a:gd name="connsiteY4349" fmla="*/ 6114351 h 6858000"/>
              <a:gd name="connsiteX4350" fmla="*/ 3409233 w 6530564"/>
              <a:gd name="connsiteY4350" fmla="*/ 6136431 h 6858000"/>
              <a:gd name="connsiteX4351" fmla="*/ 3520977 w 6530564"/>
              <a:gd name="connsiteY4351" fmla="*/ 6156515 h 6858000"/>
              <a:gd name="connsiteX4352" fmla="*/ 3704103 w 6530564"/>
              <a:gd name="connsiteY4352" fmla="*/ 6190654 h 6858000"/>
              <a:gd name="connsiteX4353" fmla="*/ 3841878 w 6530564"/>
              <a:gd name="connsiteY4353" fmla="*/ 6195409 h 6858000"/>
              <a:gd name="connsiteX4354" fmla="*/ 3935617 w 6530564"/>
              <a:gd name="connsiteY4354" fmla="*/ 6199803 h 6858000"/>
              <a:gd name="connsiteX4355" fmla="*/ 4050037 w 6530564"/>
              <a:gd name="connsiteY4355" fmla="*/ 6209548 h 6858000"/>
              <a:gd name="connsiteX4356" fmla="*/ 4164456 w 6530564"/>
              <a:gd name="connsiteY4356" fmla="*/ 6219291 h 6858000"/>
              <a:gd name="connsiteX4357" fmla="*/ 4208491 w 6530564"/>
              <a:gd name="connsiteY4357" fmla="*/ 6219652 h 6858000"/>
              <a:gd name="connsiteX4358" fmla="*/ 4280553 w 6530564"/>
              <a:gd name="connsiteY4358" fmla="*/ 6214026 h 6858000"/>
              <a:gd name="connsiteX4359" fmla="*/ 4299237 w 6530564"/>
              <a:gd name="connsiteY4359" fmla="*/ 6210033 h 6858000"/>
              <a:gd name="connsiteX4360" fmla="*/ 4376966 w 6530564"/>
              <a:gd name="connsiteY4360" fmla="*/ 6208079 h 6858000"/>
              <a:gd name="connsiteX4361" fmla="*/ 4381639 w 6530564"/>
              <a:gd name="connsiteY4361" fmla="*/ 6207082 h 6858000"/>
              <a:gd name="connsiteX4362" fmla="*/ 4382636 w 6530564"/>
              <a:gd name="connsiteY4362" fmla="*/ 6211752 h 6858000"/>
              <a:gd name="connsiteX4363" fmla="*/ 4391979 w 6530564"/>
              <a:gd name="connsiteY4363" fmla="*/ 6209755 h 6858000"/>
              <a:gd name="connsiteX4364" fmla="*/ 4390980 w 6530564"/>
              <a:gd name="connsiteY4364" fmla="*/ 6205086 h 6858000"/>
              <a:gd name="connsiteX4365" fmla="*/ 4386310 w 6530564"/>
              <a:gd name="connsiteY4365" fmla="*/ 6206084 h 6858000"/>
              <a:gd name="connsiteX4366" fmla="*/ 4408667 w 6530564"/>
              <a:gd name="connsiteY4366" fmla="*/ 6196422 h 6858000"/>
              <a:gd name="connsiteX4367" fmla="*/ 4653556 w 6530564"/>
              <a:gd name="connsiteY4367" fmla="*/ 6153870 h 6858000"/>
              <a:gd name="connsiteX4368" fmla="*/ 4745978 w 6530564"/>
              <a:gd name="connsiteY4368" fmla="*/ 6129242 h 6858000"/>
              <a:gd name="connsiteX4369" fmla="*/ 4900802 w 6530564"/>
              <a:gd name="connsiteY4369" fmla="*/ 6076627 h 6858000"/>
              <a:gd name="connsiteX4370" fmla="*/ 5058301 w 6530564"/>
              <a:gd name="connsiteY4370" fmla="*/ 6013674 h 6858000"/>
              <a:gd name="connsiteX4371" fmla="*/ 5152401 w 6530564"/>
              <a:gd name="connsiteY4371" fmla="*/ 5974033 h 6858000"/>
              <a:gd name="connsiteX4372" fmla="*/ 5184101 w 6530564"/>
              <a:gd name="connsiteY4372" fmla="*/ 5962374 h 6858000"/>
              <a:gd name="connsiteX4373" fmla="*/ 5245504 w 6530564"/>
              <a:gd name="connsiteY4373" fmla="*/ 5929720 h 6858000"/>
              <a:gd name="connsiteX4374" fmla="*/ 5246501 w 6530564"/>
              <a:gd name="connsiteY4374" fmla="*/ 5934392 h 6858000"/>
              <a:gd name="connsiteX4375" fmla="*/ 5251173 w 6530564"/>
              <a:gd name="connsiteY4375" fmla="*/ 5933393 h 6858000"/>
              <a:gd name="connsiteX4376" fmla="*/ 5260514 w 6530564"/>
              <a:gd name="connsiteY4376" fmla="*/ 5931398 h 6858000"/>
              <a:gd name="connsiteX4377" fmla="*/ 5264188 w 6530564"/>
              <a:gd name="connsiteY4377" fmla="*/ 5925730 h 6858000"/>
              <a:gd name="connsiteX4378" fmla="*/ 5274527 w 6530564"/>
              <a:gd name="connsiteY4378" fmla="*/ 5928403 h 6858000"/>
              <a:gd name="connsiteX4379" fmla="*/ 5272531 w 6530564"/>
              <a:gd name="connsiteY4379" fmla="*/ 5919062 h 6858000"/>
              <a:gd name="connsiteX4380" fmla="*/ 5277203 w 6530564"/>
              <a:gd name="connsiteY4380" fmla="*/ 5918063 h 6858000"/>
              <a:gd name="connsiteX4381" fmla="*/ 5285546 w 6530564"/>
              <a:gd name="connsiteY4381" fmla="*/ 5911397 h 6858000"/>
              <a:gd name="connsiteX4382" fmla="*/ 5275207 w 6530564"/>
              <a:gd name="connsiteY4382" fmla="*/ 5908722 h 6858000"/>
              <a:gd name="connsiteX4383" fmla="*/ 5276205 w 6530564"/>
              <a:gd name="connsiteY4383" fmla="*/ 5913393 h 6858000"/>
              <a:gd name="connsiteX4384" fmla="*/ 5270536 w 6530564"/>
              <a:gd name="connsiteY4384" fmla="*/ 5909721 h 6858000"/>
              <a:gd name="connsiteX4385" fmla="*/ 5379329 w 6530564"/>
              <a:gd name="connsiteY4385" fmla="*/ 5847404 h 6858000"/>
              <a:gd name="connsiteX4386" fmla="*/ 5542857 w 6530564"/>
              <a:gd name="connsiteY4386" fmla="*/ 5744086 h 6858000"/>
              <a:gd name="connsiteX4387" fmla="*/ 5543855 w 6530564"/>
              <a:gd name="connsiteY4387" fmla="*/ 5748759 h 6858000"/>
              <a:gd name="connsiteX4388" fmla="*/ 5539183 w 6530564"/>
              <a:gd name="connsiteY4388" fmla="*/ 5749756 h 6858000"/>
              <a:gd name="connsiteX4389" fmla="*/ 5536507 w 6530564"/>
              <a:gd name="connsiteY4389" fmla="*/ 5760095 h 6858000"/>
              <a:gd name="connsiteX4390" fmla="*/ 5544853 w 6530564"/>
              <a:gd name="connsiteY4390" fmla="*/ 5753429 h 6858000"/>
              <a:gd name="connsiteX4391" fmla="*/ 5553195 w 6530564"/>
              <a:gd name="connsiteY4391" fmla="*/ 5746762 h 6858000"/>
              <a:gd name="connsiteX4392" fmla="*/ 5568208 w 6530564"/>
              <a:gd name="connsiteY4392" fmla="*/ 5748439 h 6858000"/>
              <a:gd name="connsiteX4393" fmla="*/ 5565793 w 6530564"/>
              <a:gd name="connsiteY4393" fmla="*/ 5742849 h 6858000"/>
              <a:gd name="connsiteX4394" fmla="*/ 5563150 w 6530564"/>
              <a:gd name="connsiteY4394" fmla="*/ 5743821 h 6858000"/>
              <a:gd name="connsiteX4395" fmla="*/ 5569884 w 6530564"/>
              <a:gd name="connsiteY4395" fmla="*/ 5733428 h 6858000"/>
              <a:gd name="connsiteX4396" fmla="*/ 5555871 w 6530564"/>
              <a:gd name="connsiteY4396" fmla="*/ 5736423 h 6858000"/>
              <a:gd name="connsiteX4397" fmla="*/ 5595597 w 6530564"/>
              <a:gd name="connsiteY4397" fmla="*/ 5693746 h 6858000"/>
              <a:gd name="connsiteX4398" fmla="*/ 5601265 w 6530564"/>
              <a:gd name="connsiteY4398" fmla="*/ 5697419 h 6858000"/>
              <a:gd name="connsiteX4399" fmla="*/ 5654005 w 6530564"/>
              <a:gd name="connsiteY4399" fmla="*/ 5647078 h 6858000"/>
              <a:gd name="connsiteX4400" fmla="*/ 5650333 w 6530564"/>
              <a:gd name="connsiteY4400" fmla="*/ 5652747 h 6858000"/>
              <a:gd name="connsiteX4401" fmla="*/ 5713411 w 6530564"/>
              <a:gd name="connsiteY4401" fmla="*/ 5605080 h 6858000"/>
              <a:gd name="connsiteX4402" fmla="*/ 5717085 w 6530564"/>
              <a:gd name="connsiteY4402" fmla="*/ 5599412 h 6858000"/>
              <a:gd name="connsiteX4403" fmla="*/ 5698401 w 6530564"/>
              <a:gd name="connsiteY4403" fmla="*/ 5603403 h 6858000"/>
              <a:gd name="connsiteX4404" fmla="*/ 5739123 w 6530564"/>
              <a:gd name="connsiteY4404" fmla="*/ 5565397 h 6858000"/>
              <a:gd name="connsiteX4405" fmla="*/ 5749465 w 6530564"/>
              <a:gd name="connsiteY4405" fmla="*/ 5568074 h 6858000"/>
              <a:gd name="connsiteX4406" fmla="*/ 5755813 w 6530564"/>
              <a:gd name="connsiteY4406" fmla="*/ 5552065 h 6858000"/>
              <a:gd name="connsiteX4407" fmla="*/ 5759485 w 6530564"/>
              <a:gd name="connsiteY4407" fmla="*/ 5546395 h 6858000"/>
              <a:gd name="connsiteX4408" fmla="*/ 5766831 w 6530564"/>
              <a:gd name="connsiteY4408" fmla="*/ 5535057 h 6858000"/>
              <a:gd name="connsiteX4409" fmla="*/ 5757489 w 6530564"/>
              <a:gd name="connsiteY4409" fmla="*/ 5537052 h 6858000"/>
              <a:gd name="connsiteX4410" fmla="*/ 5752817 w 6530564"/>
              <a:gd name="connsiteY4410" fmla="*/ 5538051 h 6858000"/>
              <a:gd name="connsiteX4411" fmla="*/ 5840612 w 6530564"/>
              <a:gd name="connsiteY4411" fmla="*/ 5446031 h 6858000"/>
              <a:gd name="connsiteX4412" fmla="*/ 5875984 w 6530564"/>
              <a:gd name="connsiteY4412" fmla="*/ 5428705 h 6858000"/>
              <a:gd name="connsiteX4413" fmla="*/ 5876981 w 6530564"/>
              <a:gd name="connsiteY4413" fmla="*/ 5433377 h 6858000"/>
              <a:gd name="connsiteX4414" fmla="*/ 5881654 w 6530564"/>
              <a:gd name="connsiteY4414" fmla="*/ 5432378 h 6858000"/>
              <a:gd name="connsiteX4415" fmla="*/ 5888999 w 6530564"/>
              <a:gd name="connsiteY4415" fmla="*/ 5421040 h 6858000"/>
              <a:gd name="connsiteX4416" fmla="*/ 5892673 w 6530564"/>
              <a:gd name="connsiteY4416" fmla="*/ 5415372 h 6858000"/>
              <a:gd name="connsiteX4417" fmla="*/ 5894349 w 6530564"/>
              <a:gd name="connsiteY4417" fmla="*/ 5400360 h 6858000"/>
              <a:gd name="connsiteX4418" fmla="*/ 5910040 w 6530564"/>
              <a:gd name="connsiteY4418" fmla="*/ 5382356 h 6858000"/>
              <a:gd name="connsiteX4419" fmla="*/ 5885009 w 6530564"/>
              <a:gd name="connsiteY4419" fmla="*/ 5402357 h 6858000"/>
              <a:gd name="connsiteX4420" fmla="*/ 5887003 w 6530564"/>
              <a:gd name="connsiteY4420" fmla="*/ 5411699 h 6858000"/>
              <a:gd name="connsiteX4421" fmla="*/ 5883331 w 6530564"/>
              <a:gd name="connsiteY4421" fmla="*/ 5417368 h 6858000"/>
              <a:gd name="connsiteX4422" fmla="*/ 5878661 w 6530564"/>
              <a:gd name="connsiteY4422" fmla="*/ 5418365 h 6858000"/>
              <a:gd name="connsiteX4423" fmla="*/ 5875984 w 6530564"/>
              <a:gd name="connsiteY4423" fmla="*/ 5428705 h 6858000"/>
              <a:gd name="connsiteX4424" fmla="*/ 5797893 w 6530564"/>
              <a:gd name="connsiteY4424" fmla="*/ 5474694 h 6858000"/>
              <a:gd name="connsiteX4425" fmla="*/ 5788553 w 6530564"/>
              <a:gd name="connsiteY4425" fmla="*/ 5476691 h 6858000"/>
              <a:gd name="connsiteX4426" fmla="*/ 5787554 w 6530564"/>
              <a:gd name="connsiteY4426" fmla="*/ 5472019 h 6858000"/>
              <a:gd name="connsiteX4427" fmla="*/ 5783880 w 6530564"/>
              <a:gd name="connsiteY4427" fmla="*/ 5477689 h 6858000"/>
              <a:gd name="connsiteX4428" fmla="*/ 5779209 w 6530564"/>
              <a:gd name="connsiteY4428" fmla="*/ 5478686 h 6858000"/>
              <a:gd name="connsiteX4429" fmla="*/ 5809467 w 6530564"/>
              <a:gd name="connsiteY4429" fmla="*/ 5437421 h 6858000"/>
              <a:gd name="connsiteX4430" fmla="*/ 5851753 w 6530564"/>
              <a:gd name="connsiteY4430" fmla="*/ 5406742 h 6858000"/>
              <a:gd name="connsiteX4431" fmla="*/ 5852311 w 6530564"/>
              <a:gd name="connsiteY4431" fmla="*/ 5409342 h 6858000"/>
              <a:gd name="connsiteX4432" fmla="*/ 5855983 w 6530564"/>
              <a:gd name="connsiteY4432" fmla="*/ 5403674 h 6858000"/>
              <a:gd name="connsiteX4433" fmla="*/ 5872672 w 6530564"/>
              <a:gd name="connsiteY4433" fmla="*/ 5390339 h 6858000"/>
              <a:gd name="connsiteX4434" fmla="*/ 5868998 w 6530564"/>
              <a:gd name="connsiteY4434" fmla="*/ 5396009 h 6858000"/>
              <a:gd name="connsiteX4435" fmla="*/ 5873671 w 6530564"/>
              <a:gd name="connsiteY4435" fmla="*/ 5395010 h 6858000"/>
              <a:gd name="connsiteX4436" fmla="*/ 5877343 w 6530564"/>
              <a:gd name="connsiteY4436" fmla="*/ 5389341 h 6858000"/>
              <a:gd name="connsiteX4437" fmla="*/ 5944096 w 6530564"/>
              <a:gd name="connsiteY4437" fmla="*/ 5336008 h 6858000"/>
              <a:gd name="connsiteX4438" fmla="*/ 5954436 w 6530564"/>
              <a:gd name="connsiteY4438" fmla="*/ 5338681 h 6858000"/>
              <a:gd name="connsiteX4439" fmla="*/ 5936071 w 6530564"/>
              <a:gd name="connsiteY4439" fmla="*/ 5367026 h 6858000"/>
              <a:gd name="connsiteX4440" fmla="*/ 6011847 w 6530564"/>
              <a:gd name="connsiteY4440" fmla="*/ 5287342 h 6858000"/>
              <a:gd name="connsiteX4441" fmla="*/ 6021190 w 6530564"/>
              <a:gd name="connsiteY4441" fmla="*/ 5285346 h 6858000"/>
              <a:gd name="connsiteX4442" fmla="*/ 6023863 w 6530564"/>
              <a:gd name="connsiteY4442" fmla="*/ 5275006 h 6858000"/>
              <a:gd name="connsiteX4443" fmla="*/ 6041233 w 6530564"/>
              <a:gd name="connsiteY4443" fmla="*/ 5241991 h 6858000"/>
              <a:gd name="connsiteX4444" fmla="*/ 6047899 w 6530564"/>
              <a:gd name="connsiteY4444" fmla="*/ 5250335 h 6858000"/>
              <a:gd name="connsiteX4445" fmla="*/ 6054247 w 6530564"/>
              <a:gd name="connsiteY4445" fmla="*/ 5234325 h 6858000"/>
              <a:gd name="connsiteX4446" fmla="*/ 6057920 w 6530564"/>
              <a:gd name="connsiteY4446" fmla="*/ 5228658 h 6858000"/>
              <a:gd name="connsiteX4447" fmla="*/ 6062591 w 6530564"/>
              <a:gd name="connsiteY4447" fmla="*/ 5227659 h 6858000"/>
              <a:gd name="connsiteX4448" fmla="*/ 6061593 w 6530564"/>
              <a:gd name="connsiteY4448" fmla="*/ 5222988 h 6858000"/>
              <a:gd name="connsiteX4449" fmla="*/ 6057920 w 6530564"/>
              <a:gd name="connsiteY4449" fmla="*/ 5228658 h 6858000"/>
              <a:gd name="connsiteX4450" fmla="*/ 6053250 w 6530564"/>
              <a:gd name="connsiteY4450" fmla="*/ 5229655 h 6858000"/>
              <a:gd name="connsiteX4451" fmla="*/ 6068941 w 6530564"/>
              <a:gd name="connsiteY4451" fmla="*/ 5211651 h 6858000"/>
              <a:gd name="connsiteX4452" fmla="*/ 6069937 w 6530564"/>
              <a:gd name="connsiteY4452" fmla="*/ 5216321 h 6858000"/>
              <a:gd name="connsiteX4453" fmla="*/ 6153103 w 6530564"/>
              <a:gd name="connsiteY4453" fmla="*/ 5056910 h 6858000"/>
              <a:gd name="connsiteX4454" fmla="*/ 6220259 w 6530564"/>
              <a:gd name="connsiteY4454" fmla="*/ 4891153 h 6858000"/>
              <a:gd name="connsiteX4455" fmla="*/ 6232593 w 6530564"/>
              <a:gd name="connsiteY4455" fmla="*/ 4903170 h 6858000"/>
              <a:gd name="connsiteX4456" fmla="*/ 6266691 w 6530564"/>
              <a:gd name="connsiteY4456" fmla="*/ 4788433 h 6858000"/>
              <a:gd name="connsiteX4457" fmla="*/ 6282822 w 6530564"/>
              <a:gd name="connsiteY4457" fmla="*/ 4732481 h 6858000"/>
              <a:gd name="connsiteX4458" fmla="*/ 6302855 w 6530564"/>
              <a:gd name="connsiteY4458" fmla="*/ 4672815 h 6858000"/>
              <a:gd name="connsiteX4459" fmla="*/ 6305460 w 6530564"/>
              <a:gd name="connsiteY4459" fmla="*/ 4672697 h 6858000"/>
              <a:gd name="connsiteX4460" fmla="*/ 6313804 w 6530564"/>
              <a:gd name="connsiteY4460" fmla="*/ 4666031 h 6858000"/>
              <a:gd name="connsiteX4461" fmla="*/ 6318475 w 6530564"/>
              <a:gd name="connsiteY4461" fmla="*/ 4665033 h 6858000"/>
              <a:gd name="connsiteX4462" fmla="*/ 6322827 w 6530564"/>
              <a:gd name="connsiteY4462" fmla="*/ 4639682 h 6858000"/>
              <a:gd name="connsiteX4463" fmla="*/ 6330175 w 6530564"/>
              <a:gd name="connsiteY4463" fmla="*/ 4628345 h 6858000"/>
              <a:gd name="connsiteX4464" fmla="*/ 6329177 w 6530564"/>
              <a:gd name="connsiteY4464" fmla="*/ 4623672 h 6858000"/>
              <a:gd name="connsiteX4465" fmla="*/ 6324505 w 6530564"/>
              <a:gd name="connsiteY4465" fmla="*/ 4624671 h 6858000"/>
              <a:gd name="connsiteX4466" fmla="*/ 6348900 w 6530564"/>
              <a:gd name="connsiteY4466" fmla="*/ 4555965 h 6858000"/>
              <a:gd name="connsiteX4467" fmla="*/ 6345907 w 6530564"/>
              <a:gd name="connsiteY4467" fmla="*/ 4541951 h 6858000"/>
              <a:gd name="connsiteX4468" fmla="*/ 6330216 w 6530564"/>
              <a:gd name="connsiteY4468" fmla="*/ 4559955 h 6858000"/>
              <a:gd name="connsiteX4469" fmla="*/ 6336883 w 6530564"/>
              <a:gd name="connsiteY4469" fmla="*/ 4568299 h 6858000"/>
              <a:gd name="connsiteX4470" fmla="*/ 6314844 w 6530564"/>
              <a:gd name="connsiteY4470" fmla="*/ 4602314 h 6858000"/>
              <a:gd name="connsiteX4471" fmla="*/ 6321192 w 6530564"/>
              <a:gd name="connsiteY4471" fmla="*/ 4586304 h 6858000"/>
              <a:gd name="connsiteX4472" fmla="*/ 6273761 w 6530564"/>
              <a:gd name="connsiteY4472" fmla="*/ 4684354 h 6858000"/>
              <a:gd name="connsiteX4473" fmla="*/ 6228327 w 6530564"/>
              <a:gd name="connsiteY4473" fmla="*/ 4791746 h 6858000"/>
              <a:gd name="connsiteX4474" fmla="*/ 6218983 w 6530564"/>
              <a:gd name="connsiteY4474" fmla="*/ 4793740 h 6858000"/>
              <a:gd name="connsiteX4475" fmla="*/ 6164885 w 6530564"/>
              <a:gd name="connsiteY4475" fmla="*/ 4883446 h 6858000"/>
              <a:gd name="connsiteX4476" fmla="*/ 6142846 w 6530564"/>
              <a:gd name="connsiteY4476" fmla="*/ 4917459 h 6858000"/>
              <a:gd name="connsiteX4477" fmla="*/ 6136497 w 6530564"/>
              <a:gd name="connsiteY4477" fmla="*/ 4933470 h 6858000"/>
              <a:gd name="connsiteX4478" fmla="*/ 6117135 w 6530564"/>
              <a:gd name="connsiteY4478" fmla="*/ 4957143 h 6858000"/>
              <a:gd name="connsiteX4479" fmla="*/ 6085074 w 6530564"/>
              <a:gd name="connsiteY4479" fmla="*/ 5012834 h 6858000"/>
              <a:gd name="connsiteX4480" fmla="*/ 6052017 w 6530564"/>
              <a:gd name="connsiteY4480" fmla="*/ 5063855 h 6858000"/>
              <a:gd name="connsiteX4481" fmla="*/ 5949849 w 6530564"/>
              <a:gd name="connsiteY4481" fmla="*/ 5202903 h 6858000"/>
              <a:gd name="connsiteX4482" fmla="*/ 5919467 w 6530564"/>
              <a:gd name="connsiteY4482" fmla="*/ 5243586 h 6858000"/>
              <a:gd name="connsiteX4483" fmla="*/ 5913797 w 6530564"/>
              <a:gd name="connsiteY4483" fmla="*/ 5239912 h 6858000"/>
              <a:gd name="connsiteX4484" fmla="*/ 5798296 w 6530564"/>
              <a:gd name="connsiteY4484" fmla="*/ 5362272 h 6858000"/>
              <a:gd name="connsiteX4485" fmla="*/ 5770589 w 6530564"/>
              <a:gd name="connsiteY4485" fmla="*/ 5392612 h 6858000"/>
              <a:gd name="connsiteX4486" fmla="*/ 5726193 w 6530564"/>
              <a:gd name="connsiteY4486" fmla="*/ 5436286 h 6858000"/>
              <a:gd name="connsiteX4487" fmla="*/ 5560309 w 6530564"/>
              <a:gd name="connsiteY4487" fmla="*/ 5574296 h 6858000"/>
              <a:gd name="connsiteX4488" fmla="*/ 5511241 w 6530564"/>
              <a:gd name="connsiteY4488" fmla="*/ 5618968 h 6858000"/>
              <a:gd name="connsiteX4489" fmla="*/ 5501899 w 6530564"/>
              <a:gd name="connsiteY4489" fmla="*/ 5620964 h 6858000"/>
              <a:gd name="connsiteX4490" fmla="*/ 5462853 w 6530564"/>
              <a:gd name="connsiteY4490" fmla="*/ 5643958 h 6858000"/>
              <a:gd name="connsiteX4491" fmla="*/ 5434147 w 6530564"/>
              <a:gd name="connsiteY4491" fmla="*/ 5669628 h 6858000"/>
              <a:gd name="connsiteX4492" fmla="*/ 5335695 w 6530564"/>
              <a:gd name="connsiteY4492" fmla="*/ 5734620 h 6858000"/>
              <a:gd name="connsiteX4493" fmla="*/ 5279961 w 6530564"/>
              <a:gd name="connsiteY4493" fmla="*/ 5770948 h 6858000"/>
              <a:gd name="connsiteX4494" fmla="*/ 5196201 w 6530564"/>
              <a:gd name="connsiteY4494" fmla="*/ 5813264 h 6858000"/>
              <a:gd name="connsiteX4495" fmla="*/ 5184185 w 6530564"/>
              <a:gd name="connsiteY4495" fmla="*/ 5825600 h 6858000"/>
              <a:gd name="connsiteX4496" fmla="*/ 5148811 w 6530564"/>
              <a:gd name="connsiteY4496" fmla="*/ 5842926 h 6858000"/>
              <a:gd name="connsiteX4497" fmla="*/ 5098429 w 6530564"/>
              <a:gd name="connsiteY4497" fmla="*/ 5858574 h 6858000"/>
              <a:gd name="connsiteX4498" fmla="*/ 5093078 w 6530564"/>
              <a:gd name="connsiteY4498" fmla="*/ 5879254 h 6858000"/>
              <a:gd name="connsiteX4499" fmla="*/ 5071717 w 6530564"/>
              <a:gd name="connsiteY4499" fmla="*/ 5893584 h 6858000"/>
              <a:gd name="connsiteX4500" fmla="*/ 4963607 w 6530564"/>
              <a:gd name="connsiteY4500" fmla="*/ 5936220 h 6858000"/>
              <a:gd name="connsiteX4501" fmla="*/ 4943924 w 6530564"/>
              <a:gd name="connsiteY4501" fmla="*/ 5935541 h 6858000"/>
              <a:gd name="connsiteX4502" fmla="*/ 4931907 w 6530564"/>
              <a:gd name="connsiteY4502" fmla="*/ 5947877 h 6858000"/>
              <a:gd name="connsiteX4503" fmla="*/ 4927236 w 6530564"/>
              <a:gd name="connsiteY4503" fmla="*/ 5948876 h 6858000"/>
              <a:gd name="connsiteX4504" fmla="*/ 4813453 w 6530564"/>
              <a:gd name="connsiteY4504" fmla="*/ 5987836 h 6858000"/>
              <a:gd name="connsiteX4505" fmla="*/ 4812455 w 6530564"/>
              <a:gd name="connsiteY4505" fmla="*/ 5983165 h 6858000"/>
              <a:gd name="connsiteX4506" fmla="*/ 4789099 w 6530564"/>
              <a:gd name="connsiteY4506" fmla="*/ 5988156 h 6858000"/>
              <a:gd name="connsiteX4507" fmla="*/ 4763071 w 6530564"/>
              <a:gd name="connsiteY4507" fmla="*/ 6003484 h 6858000"/>
              <a:gd name="connsiteX4508" fmla="*/ 4747061 w 6530564"/>
              <a:gd name="connsiteY4508" fmla="*/ 5997136 h 6858000"/>
              <a:gd name="connsiteX4509" fmla="*/ 4687335 w 6530564"/>
              <a:gd name="connsiteY4509" fmla="*/ 6014782 h 6858000"/>
              <a:gd name="connsiteX4510" fmla="*/ 4642621 w 6530564"/>
              <a:gd name="connsiteY4510" fmla="*/ 6034102 h 6858000"/>
              <a:gd name="connsiteX4511" fmla="*/ 4636952 w 6530564"/>
              <a:gd name="connsiteY4511" fmla="*/ 6030429 h 6858000"/>
              <a:gd name="connsiteX4512" fmla="*/ 4563214 w 6530564"/>
              <a:gd name="connsiteY4512" fmla="*/ 6051067 h 6858000"/>
              <a:gd name="connsiteX4513" fmla="*/ 4553871 w 6530564"/>
              <a:gd name="connsiteY4513" fmla="*/ 6053063 h 6858000"/>
              <a:gd name="connsiteX4514" fmla="*/ 4552873 w 6530564"/>
              <a:gd name="connsiteY4514" fmla="*/ 6048393 h 6858000"/>
              <a:gd name="connsiteX4515" fmla="*/ 4547205 w 6530564"/>
              <a:gd name="connsiteY4515" fmla="*/ 6044719 h 6858000"/>
              <a:gd name="connsiteX4516" fmla="*/ 4543531 w 6530564"/>
              <a:gd name="connsiteY4516" fmla="*/ 6050388 h 6858000"/>
              <a:gd name="connsiteX4517" fmla="*/ 4494145 w 6530564"/>
              <a:gd name="connsiteY4517" fmla="*/ 6070708 h 6858000"/>
              <a:gd name="connsiteX4518" fmla="*/ 4478137 w 6530564"/>
              <a:gd name="connsiteY4518" fmla="*/ 6064359 h 6858000"/>
              <a:gd name="connsiteX4519" fmla="*/ 4479134 w 6530564"/>
              <a:gd name="connsiteY4519" fmla="*/ 6069030 h 6858000"/>
              <a:gd name="connsiteX4520" fmla="*/ 4459453 w 6530564"/>
              <a:gd name="connsiteY4520" fmla="*/ 6068351 h 6858000"/>
              <a:gd name="connsiteX4521" fmla="*/ 4432425 w 6530564"/>
              <a:gd name="connsiteY4521" fmla="*/ 6079010 h 6858000"/>
              <a:gd name="connsiteX4522" fmla="*/ 4404399 w 6530564"/>
              <a:gd name="connsiteY4522" fmla="*/ 6084998 h 6858000"/>
              <a:gd name="connsiteX4523" fmla="*/ 4394059 w 6530564"/>
              <a:gd name="connsiteY4523" fmla="*/ 6082323 h 6858000"/>
              <a:gd name="connsiteX4524" fmla="*/ 4379047 w 6530564"/>
              <a:gd name="connsiteY4524" fmla="*/ 6080645 h 6858000"/>
              <a:gd name="connsiteX4525" fmla="*/ 4374376 w 6530564"/>
              <a:gd name="connsiteY4525" fmla="*/ 6081644 h 6858000"/>
              <a:gd name="connsiteX4526" fmla="*/ 4292971 w 6530564"/>
              <a:gd name="connsiteY4526" fmla="*/ 6089266 h 6858000"/>
              <a:gd name="connsiteX4527" fmla="*/ 4193882 w 6530564"/>
              <a:gd name="connsiteY4527" fmla="*/ 6105553 h 6858000"/>
              <a:gd name="connsiteX4528" fmla="*/ 4184541 w 6530564"/>
              <a:gd name="connsiteY4528" fmla="*/ 6107549 h 6858000"/>
              <a:gd name="connsiteX4529" fmla="*/ 4178872 w 6530564"/>
              <a:gd name="connsiteY4529" fmla="*/ 6103875 h 6858000"/>
              <a:gd name="connsiteX4530" fmla="*/ 4174201 w 6530564"/>
              <a:gd name="connsiteY4530" fmla="*/ 6104874 h 6858000"/>
              <a:gd name="connsiteX4531" fmla="*/ 4146175 w 6530564"/>
              <a:gd name="connsiteY4531" fmla="*/ 6110861 h 6858000"/>
              <a:gd name="connsiteX4532" fmla="*/ 4141503 w 6530564"/>
              <a:gd name="connsiteY4532" fmla="*/ 6111859 h 6858000"/>
              <a:gd name="connsiteX4533" fmla="*/ 4135835 w 6530564"/>
              <a:gd name="connsiteY4533" fmla="*/ 6108185 h 6858000"/>
              <a:gd name="connsiteX4534" fmla="*/ 4131163 w 6530564"/>
              <a:gd name="connsiteY4534" fmla="*/ 6109183 h 6858000"/>
              <a:gd name="connsiteX4535" fmla="*/ 4092798 w 6530564"/>
              <a:gd name="connsiteY4535" fmla="*/ 6112497 h 6858000"/>
              <a:gd name="connsiteX4536" fmla="*/ 4082458 w 6530564"/>
              <a:gd name="connsiteY4536" fmla="*/ 6109821 h 6858000"/>
              <a:gd name="connsiteX4537" fmla="*/ 4052435 w 6530564"/>
              <a:gd name="connsiteY4537" fmla="*/ 6106468 h 6858000"/>
              <a:gd name="connsiteX4538" fmla="*/ 4053433 w 6530564"/>
              <a:gd name="connsiteY4538" fmla="*/ 6111138 h 6858000"/>
              <a:gd name="connsiteX4539" fmla="*/ 4043093 w 6530564"/>
              <a:gd name="connsiteY4539" fmla="*/ 6108462 h 6858000"/>
              <a:gd name="connsiteX4540" fmla="*/ 4049935 w 6530564"/>
              <a:gd name="connsiteY4540" fmla="*/ 6103338 h 6858000"/>
              <a:gd name="connsiteX4541" fmla="*/ 4045742 w 6530564"/>
              <a:gd name="connsiteY4541" fmla="*/ 6095312 h 6858000"/>
              <a:gd name="connsiteX4542" fmla="*/ 4059782 w 6530564"/>
              <a:gd name="connsiteY4542" fmla="*/ 6095129 h 6858000"/>
              <a:gd name="connsiteX4543" fmla="*/ 4208575 w 6530564"/>
              <a:gd name="connsiteY4543" fmla="*/ 6082877 h 6858000"/>
              <a:gd name="connsiteX4544" fmla="*/ 4574233 w 6530564"/>
              <a:gd name="connsiteY4544" fmla="*/ 6034059 h 6858000"/>
              <a:gd name="connsiteX4545" fmla="*/ 4653639 w 6530564"/>
              <a:gd name="connsiteY4545" fmla="*/ 6017096 h 6858000"/>
              <a:gd name="connsiteX4546" fmla="*/ 4666657 w 6530564"/>
              <a:gd name="connsiteY4546" fmla="*/ 6009430 h 6858000"/>
              <a:gd name="connsiteX4547" fmla="*/ 4671326 w 6530564"/>
              <a:gd name="connsiteY4547" fmla="*/ 6008432 h 6858000"/>
              <a:gd name="connsiteX4548" fmla="*/ 4680669 w 6530564"/>
              <a:gd name="connsiteY4548" fmla="*/ 6006436 h 6858000"/>
              <a:gd name="connsiteX4549" fmla="*/ 4777762 w 6530564"/>
              <a:gd name="connsiteY4549" fmla="*/ 5980809 h 6858000"/>
              <a:gd name="connsiteX4550" fmla="*/ 4917575 w 6530564"/>
              <a:gd name="connsiteY4550" fmla="*/ 5926517 h 6858000"/>
              <a:gd name="connsiteX4551" fmla="*/ 5024691 w 6530564"/>
              <a:gd name="connsiteY4551" fmla="*/ 5879212 h 6858000"/>
              <a:gd name="connsiteX4552" fmla="*/ 5063735 w 6530564"/>
              <a:gd name="connsiteY4552" fmla="*/ 5856218 h 6858000"/>
              <a:gd name="connsiteX4553" fmla="*/ 5078746 w 6530564"/>
              <a:gd name="connsiteY4553" fmla="*/ 5857895 h 6858000"/>
              <a:gd name="connsiteX4554" fmla="*/ 5094437 w 6530564"/>
              <a:gd name="connsiteY4554" fmla="*/ 5839890 h 6858000"/>
              <a:gd name="connsiteX4555" fmla="*/ 5130807 w 6530564"/>
              <a:gd name="connsiteY4555" fmla="*/ 5827235 h 6858000"/>
              <a:gd name="connsiteX4556" fmla="*/ 5253613 w 6530564"/>
              <a:gd name="connsiteY4556" fmla="*/ 5761925 h 6858000"/>
              <a:gd name="connsiteX4557" fmla="*/ 5273974 w 6530564"/>
              <a:gd name="connsiteY4557" fmla="*/ 5742921 h 6858000"/>
              <a:gd name="connsiteX4558" fmla="*/ 5398457 w 6530564"/>
              <a:gd name="connsiteY4558" fmla="*/ 5662600 h 6858000"/>
              <a:gd name="connsiteX4559" fmla="*/ 5508927 w 6530564"/>
              <a:gd name="connsiteY4559" fmla="*/ 5585273 h 6858000"/>
              <a:gd name="connsiteX4560" fmla="*/ 5516272 w 6530564"/>
              <a:gd name="connsiteY4560" fmla="*/ 5573935 h 6858000"/>
              <a:gd name="connsiteX4561" fmla="*/ 5517271 w 6530564"/>
              <a:gd name="connsiteY4561" fmla="*/ 5578605 h 6858000"/>
              <a:gd name="connsiteX4562" fmla="*/ 5566338 w 6530564"/>
              <a:gd name="connsiteY4562" fmla="*/ 5533934 h 6858000"/>
              <a:gd name="connsiteX4563" fmla="*/ 5597039 w 6530564"/>
              <a:gd name="connsiteY4563" fmla="*/ 5517607 h 6858000"/>
              <a:gd name="connsiteX4564" fmla="*/ 5590371 w 6530564"/>
              <a:gd name="connsiteY4564" fmla="*/ 5509261 h 6858000"/>
              <a:gd name="connsiteX4565" fmla="*/ 5610733 w 6530564"/>
              <a:gd name="connsiteY4565" fmla="*/ 5490259 h 6858000"/>
              <a:gd name="connsiteX4566" fmla="*/ 5625744 w 6530564"/>
              <a:gd name="connsiteY4566" fmla="*/ 5491937 h 6858000"/>
              <a:gd name="connsiteX4567" fmla="*/ 5718210 w 6530564"/>
              <a:gd name="connsiteY4567" fmla="*/ 5398918 h 6858000"/>
              <a:gd name="connsiteX4568" fmla="*/ 5726553 w 6530564"/>
              <a:gd name="connsiteY4568" fmla="*/ 5392252 h 6858000"/>
              <a:gd name="connsiteX4569" fmla="*/ 5730227 w 6530564"/>
              <a:gd name="connsiteY4569" fmla="*/ 5386582 h 6858000"/>
              <a:gd name="connsiteX4570" fmla="*/ 5725555 w 6530564"/>
              <a:gd name="connsiteY4570" fmla="*/ 5387581 h 6858000"/>
              <a:gd name="connsiteX4571" fmla="*/ 5720884 w 6530564"/>
              <a:gd name="connsiteY4571" fmla="*/ 5388578 h 6858000"/>
              <a:gd name="connsiteX4572" fmla="*/ 5821693 w 6530564"/>
              <a:gd name="connsiteY4572" fmla="*/ 5288895 h 6858000"/>
              <a:gd name="connsiteX4573" fmla="*/ 5836704 w 6530564"/>
              <a:gd name="connsiteY4573" fmla="*/ 5290572 h 6858000"/>
              <a:gd name="connsiteX4574" fmla="*/ 5981591 w 6530564"/>
              <a:gd name="connsiteY4574" fmla="*/ 5122858 h 6858000"/>
              <a:gd name="connsiteX4575" fmla="*/ 6118812 w 6530564"/>
              <a:gd name="connsiteY4575" fmla="*/ 4942132 h 6858000"/>
              <a:gd name="connsiteX4576" fmla="*/ 6076412 w 6530564"/>
              <a:gd name="connsiteY4576" fmla="*/ 4995149 h 6858000"/>
              <a:gd name="connsiteX4577" fmla="*/ 6063397 w 6530564"/>
              <a:gd name="connsiteY4577" fmla="*/ 5002813 h 6858000"/>
              <a:gd name="connsiteX4578" fmla="*/ 5966579 w 6530564"/>
              <a:gd name="connsiteY4578" fmla="*/ 5121182 h 6858000"/>
              <a:gd name="connsiteX4579" fmla="*/ 5844729 w 6530564"/>
              <a:gd name="connsiteY4579" fmla="*/ 5259552 h 6858000"/>
              <a:gd name="connsiteX4580" fmla="*/ 5827043 w 6530564"/>
              <a:gd name="connsiteY4580" fmla="*/ 5268214 h 6858000"/>
              <a:gd name="connsiteX4581" fmla="*/ 5759611 w 6530564"/>
              <a:gd name="connsiteY4581" fmla="*/ 5341232 h 6858000"/>
              <a:gd name="connsiteX4582" fmla="*/ 5750269 w 6530564"/>
              <a:gd name="connsiteY4582" fmla="*/ 5343228 h 6858000"/>
              <a:gd name="connsiteX4583" fmla="*/ 5752265 w 6530564"/>
              <a:gd name="connsiteY4583" fmla="*/ 5352569 h 6858000"/>
              <a:gd name="connsiteX4584" fmla="*/ 5656807 w 6530564"/>
              <a:gd name="connsiteY4584" fmla="*/ 5431574 h 6858000"/>
              <a:gd name="connsiteX4585" fmla="*/ 5668823 w 6530564"/>
              <a:gd name="connsiteY4585" fmla="*/ 5419239 h 6858000"/>
              <a:gd name="connsiteX4586" fmla="*/ 5700204 w 6530564"/>
              <a:gd name="connsiteY4586" fmla="*/ 5383229 h 6858000"/>
              <a:gd name="connsiteX4587" fmla="*/ 5759291 w 6530564"/>
              <a:gd name="connsiteY4587" fmla="*/ 5316879 h 6858000"/>
              <a:gd name="connsiteX4588" fmla="*/ 5767637 w 6530564"/>
              <a:gd name="connsiteY4588" fmla="*/ 5310212 h 6858000"/>
              <a:gd name="connsiteX4589" fmla="*/ 5776978 w 6530564"/>
              <a:gd name="connsiteY4589" fmla="*/ 5308215 h 6858000"/>
              <a:gd name="connsiteX4590" fmla="*/ 5795344 w 6530564"/>
              <a:gd name="connsiteY4590" fmla="*/ 5279871 h 6858000"/>
              <a:gd name="connsiteX4591" fmla="*/ 5823052 w 6530564"/>
              <a:gd name="connsiteY4591" fmla="*/ 5249530 h 6858000"/>
              <a:gd name="connsiteX4592" fmla="*/ 5876789 w 6530564"/>
              <a:gd name="connsiteY4592" fmla="*/ 5203859 h 6858000"/>
              <a:gd name="connsiteX4593" fmla="*/ 5875791 w 6530564"/>
              <a:gd name="connsiteY4593" fmla="*/ 5199189 h 6858000"/>
              <a:gd name="connsiteX4594" fmla="*/ 5891483 w 6530564"/>
              <a:gd name="connsiteY4594" fmla="*/ 5181185 h 6858000"/>
              <a:gd name="connsiteX4595" fmla="*/ 5895155 w 6530564"/>
              <a:gd name="connsiteY4595" fmla="*/ 5175515 h 6858000"/>
              <a:gd name="connsiteX4596" fmla="*/ 5926536 w 6530564"/>
              <a:gd name="connsiteY4596" fmla="*/ 5139505 h 6858000"/>
              <a:gd name="connsiteX4597" fmla="*/ 5942227 w 6530564"/>
              <a:gd name="connsiteY4597" fmla="*/ 5121500 h 6858000"/>
              <a:gd name="connsiteX4598" fmla="*/ 5989296 w 6530564"/>
              <a:gd name="connsiteY4598" fmla="*/ 5067486 h 6858000"/>
              <a:gd name="connsiteX4599" fmla="*/ 6008661 w 6530564"/>
              <a:gd name="connsiteY4599" fmla="*/ 5043813 h 6858000"/>
              <a:gd name="connsiteX4600" fmla="*/ 6013332 w 6530564"/>
              <a:gd name="connsiteY4600" fmla="*/ 5042815 h 6858000"/>
              <a:gd name="connsiteX4601" fmla="*/ 6017005 w 6530564"/>
              <a:gd name="connsiteY4601" fmla="*/ 5037145 h 6858000"/>
              <a:gd name="connsiteX4602" fmla="*/ 6016007 w 6530564"/>
              <a:gd name="connsiteY4602" fmla="*/ 5032475 h 6858000"/>
              <a:gd name="connsiteX4603" fmla="*/ 6020679 w 6530564"/>
              <a:gd name="connsiteY4603" fmla="*/ 5031478 h 6858000"/>
              <a:gd name="connsiteX4604" fmla="*/ 6092463 w 6530564"/>
              <a:gd name="connsiteY4604" fmla="*/ 4933109 h 6858000"/>
              <a:gd name="connsiteX4605" fmla="*/ 6100805 w 6530564"/>
              <a:gd name="connsiteY4605" fmla="*/ 4926443 h 6858000"/>
              <a:gd name="connsiteX4606" fmla="*/ 6105477 w 6530564"/>
              <a:gd name="connsiteY4606" fmla="*/ 4925444 h 6858000"/>
              <a:gd name="connsiteX4607" fmla="*/ 6109151 w 6530564"/>
              <a:gd name="connsiteY4607" fmla="*/ 4919775 h 6858000"/>
              <a:gd name="connsiteX4608" fmla="*/ 6108152 w 6530564"/>
              <a:gd name="connsiteY4608" fmla="*/ 4915104 h 6858000"/>
              <a:gd name="connsiteX4609" fmla="*/ 6132867 w 6530564"/>
              <a:gd name="connsiteY4609" fmla="*/ 4870749 h 6858000"/>
              <a:gd name="connsiteX4610" fmla="*/ 6136541 w 6530564"/>
              <a:gd name="connsiteY4610" fmla="*/ 4865082 h 6858000"/>
              <a:gd name="connsiteX4611" fmla="*/ 6139215 w 6530564"/>
              <a:gd name="connsiteY4611" fmla="*/ 4854742 h 6858000"/>
              <a:gd name="connsiteX4612" fmla="*/ 6130068 w 6530564"/>
              <a:gd name="connsiteY4612" fmla="*/ 4856695 h 6858000"/>
              <a:gd name="connsiteX4613" fmla="*/ 6137803 w 6530564"/>
              <a:gd name="connsiteY4613" fmla="*/ 4845276 h 6858000"/>
              <a:gd name="connsiteX4614" fmla="*/ 6138892 w 6530564"/>
              <a:gd name="connsiteY4614" fmla="*/ 4830440 h 6858000"/>
              <a:gd name="connsiteX4615" fmla="*/ 6138972 w 6530564"/>
              <a:gd name="connsiteY4615" fmla="*/ 4830325 h 6858000"/>
              <a:gd name="connsiteX4616" fmla="*/ 6153373 w 6530564"/>
              <a:gd name="connsiteY4616" fmla="*/ 4818137 h 6858000"/>
              <a:gd name="connsiteX4617" fmla="*/ 6165606 w 6530564"/>
              <a:gd name="connsiteY4617" fmla="*/ 4795377 h 6858000"/>
              <a:gd name="connsiteX4618" fmla="*/ 6170277 w 6530564"/>
              <a:gd name="connsiteY4618" fmla="*/ 4794378 h 6858000"/>
              <a:gd name="connsiteX4619" fmla="*/ 6169280 w 6530564"/>
              <a:gd name="connsiteY4619" fmla="*/ 4789708 h 6858000"/>
              <a:gd name="connsiteX4620" fmla="*/ 6168281 w 6530564"/>
              <a:gd name="connsiteY4620" fmla="*/ 4785037 h 6858000"/>
              <a:gd name="connsiteX4621" fmla="*/ 6181297 w 6530564"/>
              <a:gd name="connsiteY4621" fmla="*/ 4777372 h 6858000"/>
              <a:gd name="connsiteX4622" fmla="*/ 6177623 w 6530564"/>
              <a:gd name="connsiteY4622" fmla="*/ 4783041 h 6858000"/>
              <a:gd name="connsiteX4623" fmla="*/ 6174949 w 6530564"/>
              <a:gd name="connsiteY4623" fmla="*/ 4793381 h 6858000"/>
              <a:gd name="connsiteX4624" fmla="*/ 6183293 w 6530564"/>
              <a:gd name="connsiteY4624" fmla="*/ 4786714 h 6858000"/>
              <a:gd name="connsiteX4625" fmla="*/ 6187964 w 6530564"/>
              <a:gd name="connsiteY4625" fmla="*/ 4785716 h 6858000"/>
              <a:gd name="connsiteX4626" fmla="*/ 6174269 w 6530564"/>
              <a:gd name="connsiteY4626" fmla="*/ 4813062 h 6858000"/>
              <a:gd name="connsiteX4627" fmla="*/ 6287136 w 6530564"/>
              <a:gd name="connsiteY4627" fmla="*/ 4632654 h 6858000"/>
              <a:gd name="connsiteX4628" fmla="*/ 6297159 w 6530564"/>
              <a:gd name="connsiteY4628" fmla="*/ 4610975 h 6858000"/>
              <a:gd name="connsiteX4629" fmla="*/ 6300830 w 6530564"/>
              <a:gd name="connsiteY4629" fmla="*/ 4605308 h 6858000"/>
              <a:gd name="connsiteX4630" fmla="*/ 6383677 w 6530564"/>
              <a:gd name="connsiteY4630" fmla="*/ 4421545 h 6858000"/>
              <a:gd name="connsiteX4631" fmla="*/ 6391023 w 6530564"/>
              <a:gd name="connsiteY4631" fmla="*/ 4410207 h 6858000"/>
              <a:gd name="connsiteX4632" fmla="*/ 6384674 w 6530564"/>
              <a:gd name="connsiteY4632" fmla="*/ 4426216 h 6858000"/>
              <a:gd name="connsiteX4633" fmla="*/ 6386671 w 6530564"/>
              <a:gd name="connsiteY4633" fmla="*/ 4435557 h 6858000"/>
              <a:gd name="connsiteX4634" fmla="*/ 6381321 w 6530564"/>
              <a:gd name="connsiteY4634" fmla="*/ 4456237 h 6858000"/>
              <a:gd name="connsiteX4635" fmla="*/ 6377647 w 6530564"/>
              <a:gd name="connsiteY4635" fmla="*/ 4461907 h 6858000"/>
              <a:gd name="connsiteX4636" fmla="*/ 6378645 w 6530564"/>
              <a:gd name="connsiteY4636" fmla="*/ 4466577 h 6858000"/>
              <a:gd name="connsiteX4637" fmla="*/ 6368942 w 6530564"/>
              <a:gd name="connsiteY4637" fmla="*/ 4512608 h 6858000"/>
              <a:gd name="connsiteX4638" fmla="*/ 6371617 w 6530564"/>
              <a:gd name="connsiteY4638" fmla="*/ 4502267 h 6858000"/>
              <a:gd name="connsiteX4639" fmla="*/ 6373613 w 6530564"/>
              <a:gd name="connsiteY4639" fmla="*/ 4511611 h 6858000"/>
              <a:gd name="connsiteX4640" fmla="*/ 6381957 w 6530564"/>
              <a:gd name="connsiteY4640" fmla="*/ 4504944 h 6858000"/>
              <a:gd name="connsiteX4641" fmla="*/ 6382956 w 6530564"/>
              <a:gd name="connsiteY4641" fmla="*/ 4509615 h 6858000"/>
              <a:gd name="connsiteX4642" fmla="*/ 6379282 w 6530564"/>
              <a:gd name="connsiteY4642" fmla="*/ 4515282 h 6858000"/>
              <a:gd name="connsiteX4643" fmla="*/ 6380281 w 6530564"/>
              <a:gd name="connsiteY4643" fmla="*/ 4519954 h 6858000"/>
              <a:gd name="connsiteX4644" fmla="*/ 6372255 w 6530564"/>
              <a:gd name="connsiteY4644" fmla="*/ 4550974 h 6858000"/>
              <a:gd name="connsiteX4645" fmla="*/ 6373253 w 6530564"/>
              <a:gd name="connsiteY4645" fmla="*/ 4555646 h 6858000"/>
              <a:gd name="connsiteX4646" fmla="*/ 6376927 w 6530564"/>
              <a:gd name="connsiteY4646" fmla="*/ 4549976 h 6858000"/>
              <a:gd name="connsiteX4647" fmla="*/ 6381598 w 6530564"/>
              <a:gd name="connsiteY4647" fmla="*/ 4548979 h 6858000"/>
              <a:gd name="connsiteX4648" fmla="*/ 6352849 w 6530564"/>
              <a:gd name="connsiteY4648" fmla="*/ 4643036 h 6858000"/>
              <a:gd name="connsiteX4649" fmla="*/ 6318434 w 6530564"/>
              <a:gd name="connsiteY4649" fmla="*/ 4733420 h 6858000"/>
              <a:gd name="connsiteX4650" fmla="*/ 6319431 w 6530564"/>
              <a:gd name="connsiteY4650" fmla="*/ 4738091 h 6858000"/>
              <a:gd name="connsiteX4651" fmla="*/ 6314760 w 6530564"/>
              <a:gd name="connsiteY4651" fmla="*/ 4739090 h 6858000"/>
              <a:gd name="connsiteX4652" fmla="*/ 6315757 w 6530564"/>
              <a:gd name="connsiteY4652" fmla="*/ 4743761 h 6858000"/>
              <a:gd name="connsiteX4653" fmla="*/ 6312085 w 6530564"/>
              <a:gd name="connsiteY4653" fmla="*/ 4749430 h 6858000"/>
              <a:gd name="connsiteX4654" fmla="*/ 6305737 w 6530564"/>
              <a:gd name="connsiteY4654" fmla="*/ 4765438 h 6858000"/>
              <a:gd name="connsiteX4655" fmla="*/ 6307733 w 6530564"/>
              <a:gd name="connsiteY4655" fmla="*/ 4774781 h 6858000"/>
              <a:gd name="connsiteX4656" fmla="*/ 6313083 w 6530564"/>
              <a:gd name="connsiteY4656" fmla="*/ 4754099 h 6858000"/>
              <a:gd name="connsiteX4657" fmla="*/ 6317755 w 6530564"/>
              <a:gd name="connsiteY4657" fmla="*/ 4753102 h 6858000"/>
              <a:gd name="connsiteX4658" fmla="*/ 6318753 w 6530564"/>
              <a:gd name="connsiteY4658" fmla="*/ 4757773 h 6858000"/>
              <a:gd name="connsiteX4659" fmla="*/ 6322425 w 6530564"/>
              <a:gd name="connsiteY4659" fmla="*/ 4752103 h 6858000"/>
              <a:gd name="connsiteX4660" fmla="*/ 6321427 w 6530564"/>
              <a:gd name="connsiteY4660" fmla="*/ 4747433 h 6858000"/>
              <a:gd name="connsiteX4661" fmla="*/ 6325101 w 6530564"/>
              <a:gd name="connsiteY4661" fmla="*/ 4741765 h 6858000"/>
              <a:gd name="connsiteX4662" fmla="*/ 6331449 w 6530564"/>
              <a:gd name="connsiteY4662" fmla="*/ 4725756 h 6858000"/>
              <a:gd name="connsiteX4663" fmla="*/ 6329453 w 6530564"/>
              <a:gd name="connsiteY4663" fmla="*/ 4716413 h 6858000"/>
              <a:gd name="connsiteX4664" fmla="*/ 6338795 w 6530564"/>
              <a:gd name="connsiteY4664" fmla="*/ 4714417 h 6858000"/>
              <a:gd name="connsiteX4665" fmla="*/ 6345823 w 6530564"/>
              <a:gd name="connsiteY4665" fmla="*/ 4678727 h 6858000"/>
              <a:gd name="connsiteX4666" fmla="*/ 6371215 w 6530564"/>
              <a:gd name="connsiteY4666" fmla="*/ 4614691 h 6858000"/>
              <a:gd name="connsiteX4667" fmla="*/ 6366544 w 6530564"/>
              <a:gd name="connsiteY4667" fmla="*/ 4615689 h 6858000"/>
              <a:gd name="connsiteX4668" fmla="*/ 6373891 w 6530564"/>
              <a:gd name="connsiteY4668" fmla="*/ 4604351 h 6858000"/>
              <a:gd name="connsiteX4669" fmla="*/ 6371895 w 6530564"/>
              <a:gd name="connsiteY4669" fmla="*/ 4595009 h 6858000"/>
              <a:gd name="connsiteX4670" fmla="*/ 6376566 w 6530564"/>
              <a:gd name="connsiteY4670" fmla="*/ 4594011 h 6858000"/>
              <a:gd name="connsiteX4671" fmla="*/ 6383911 w 6530564"/>
              <a:gd name="connsiteY4671" fmla="*/ 4582674 h 6858000"/>
              <a:gd name="connsiteX4672" fmla="*/ 6402637 w 6530564"/>
              <a:gd name="connsiteY4672" fmla="*/ 4510294 h 6858000"/>
              <a:gd name="connsiteX4673" fmla="*/ 6393296 w 6530564"/>
              <a:gd name="connsiteY4673" fmla="*/ 4512289 h 6858000"/>
              <a:gd name="connsiteX4674" fmla="*/ 6427395 w 6530564"/>
              <a:gd name="connsiteY4674" fmla="*/ 4397552 h 6858000"/>
              <a:gd name="connsiteX4675" fmla="*/ 6451471 w 6530564"/>
              <a:gd name="connsiteY4675" fmla="*/ 4304493 h 6858000"/>
              <a:gd name="connsiteX4676" fmla="*/ 6456141 w 6530564"/>
              <a:gd name="connsiteY4676" fmla="*/ 4303494 h 6858000"/>
              <a:gd name="connsiteX4677" fmla="*/ 6472191 w 6530564"/>
              <a:gd name="connsiteY4677" fmla="*/ 4241454 h 6858000"/>
              <a:gd name="connsiteX4678" fmla="*/ 6475185 w 6530564"/>
              <a:gd name="connsiteY4678" fmla="*/ 4255467 h 6858000"/>
              <a:gd name="connsiteX4679" fmla="*/ 6466523 w 6530564"/>
              <a:gd name="connsiteY4679" fmla="*/ 4237782 h 6858000"/>
              <a:gd name="connsiteX4680" fmla="*/ 6490918 w 6530564"/>
              <a:gd name="connsiteY4680" fmla="*/ 4169076 h 6858000"/>
              <a:gd name="connsiteX4681" fmla="*/ 6494591 w 6530564"/>
              <a:gd name="connsiteY4681" fmla="*/ 4163407 h 6858000"/>
              <a:gd name="connsiteX4682" fmla="*/ 6493593 w 6530564"/>
              <a:gd name="connsiteY4682" fmla="*/ 4158734 h 6858000"/>
              <a:gd name="connsiteX4683" fmla="*/ 6488922 w 6530564"/>
              <a:gd name="connsiteY4683" fmla="*/ 4159733 h 6858000"/>
              <a:gd name="connsiteX4684" fmla="*/ 6491597 w 6530564"/>
              <a:gd name="connsiteY4684" fmla="*/ 4149395 h 6858000"/>
              <a:gd name="connsiteX4685" fmla="*/ 6492596 w 6530564"/>
              <a:gd name="connsiteY4685" fmla="*/ 4154064 h 6858000"/>
              <a:gd name="connsiteX4686" fmla="*/ 6497267 w 6530564"/>
              <a:gd name="connsiteY4686" fmla="*/ 4153066 h 6858000"/>
              <a:gd name="connsiteX4687" fmla="*/ 6495271 w 6530564"/>
              <a:gd name="connsiteY4687" fmla="*/ 4143724 h 6858000"/>
              <a:gd name="connsiteX4688" fmla="*/ 6498943 w 6530564"/>
              <a:gd name="connsiteY4688" fmla="*/ 4138054 h 6858000"/>
              <a:gd name="connsiteX4689" fmla="*/ 6495950 w 6530564"/>
              <a:gd name="connsiteY4689" fmla="*/ 4124042 h 6858000"/>
              <a:gd name="connsiteX4690" fmla="*/ 6498625 w 6530564"/>
              <a:gd name="connsiteY4690" fmla="*/ 4113702 h 6858000"/>
              <a:gd name="connsiteX4691" fmla="*/ 6494951 w 6530564"/>
              <a:gd name="connsiteY4691" fmla="*/ 4119372 h 6858000"/>
              <a:gd name="connsiteX4692" fmla="*/ 6491279 w 6530564"/>
              <a:gd name="connsiteY4692" fmla="*/ 4125039 h 6858000"/>
              <a:gd name="connsiteX4693" fmla="*/ 6489284 w 6530564"/>
              <a:gd name="connsiteY4693" fmla="*/ 4115698 h 6858000"/>
              <a:gd name="connsiteX4694" fmla="*/ 6497309 w 6530564"/>
              <a:gd name="connsiteY4694" fmla="*/ 4084679 h 6858000"/>
              <a:gd name="connsiteX4695" fmla="*/ 6509686 w 6530564"/>
              <a:gd name="connsiteY4695" fmla="*/ 4028308 h 6858000"/>
              <a:gd name="connsiteX4696" fmla="*/ 6513359 w 6530564"/>
              <a:gd name="connsiteY4696" fmla="*/ 4022638 h 6858000"/>
              <a:gd name="connsiteX4697" fmla="*/ 6512361 w 6530564"/>
              <a:gd name="connsiteY4697" fmla="*/ 4017968 h 6858000"/>
              <a:gd name="connsiteX4698" fmla="*/ 6516714 w 6530564"/>
              <a:gd name="connsiteY4698" fmla="*/ 3992617 h 6858000"/>
              <a:gd name="connsiteX4699" fmla="*/ 6517393 w 6530564"/>
              <a:gd name="connsiteY4699" fmla="*/ 3972936 h 6858000"/>
              <a:gd name="connsiteX4700" fmla="*/ 6529091 w 6530564"/>
              <a:gd name="connsiteY4700" fmla="*/ 3936247 h 6858000"/>
              <a:gd name="connsiteX4701" fmla="*/ 6530564 w 6530564"/>
              <a:gd name="connsiteY4701" fmla="*/ 3935932 h 6858000"/>
              <a:gd name="connsiteX4702" fmla="*/ 6530564 w 6530564"/>
              <a:gd name="connsiteY4702" fmla="*/ 4704434 h 6858000"/>
              <a:gd name="connsiteX4703" fmla="*/ 6484646 w 6530564"/>
              <a:gd name="connsiteY4703" fmla="*/ 4808415 h 6858000"/>
              <a:gd name="connsiteX4704" fmla="*/ 5551795 w 6530564"/>
              <a:gd name="connsiteY4704" fmla="*/ 5854513 h 6858000"/>
              <a:gd name="connsiteX4705" fmla="*/ 5547125 w 6530564"/>
              <a:gd name="connsiteY4705" fmla="*/ 5855512 h 6858000"/>
              <a:gd name="connsiteX4706" fmla="*/ 5542455 w 6530564"/>
              <a:gd name="connsiteY4706" fmla="*/ 5856509 h 6858000"/>
              <a:gd name="connsiteX4707" fmla="*/ 5536785 w 6530564"/>
              <a:gd name="connsiteY4707" fmla="*/ 5852838 h 6858000"/>
              <a:gd name="connsiteX4708" fmla="*/ 5545129 w 6530564"/>
              <a:gd name="connsiteY4708" fmla="*/ 5846171 h 6858000"/>
              <a:gd name="connsiteX4709" fmla="*/ 5543133 w 6530564"/>
              <a:gd name="connsiteY4709" fmla="*/ 5836827 h 6858000"/>
              <a:gd name="connsiteX4710" fmla="*/ 5534788 w 6530564"/>
              <a:gd name="connsiteY4710" fmla="*/ 5843494 h 6858000"/>
              <a:gd name="connsiteX4711" fmla="*/ 5531117 w 6530564"/>
              <a:gd name="connsiteY4711" fmla="*/ 5849164 h 6858000"/>
              <a:gd name="connsiteX4712" fmla="*/ 5526445 w 6530564"/>
              <a:gd name="connsiteY4712" fmla="*/ 5850162 h 6858000"/>
              <a:gd name="connsiteX4713" fmla="*/ 5511435 w 6530564"/>
              <a:gd name="connsiteY4713" fmla="*/ 5848485 h 6858000"/>
              <a:gd name="connsiteX4714" fmla="*/ 5509757 w 6530564"/>
              <a:gd name="connsiteY4714" fmla="*/ 5863495 h 6858000"/>
              <a:gd name="connsiteX4715" fmla="*/ 5518102 w 6530564"/>
              <a:gd name="connsiteY4715" fmla="*/ 5856829 h 6858000"/>
              <a:gd name="connsiteX4716" fmla="*/ 5515425 w 6530564"/>
              <a:gd name="connsiteY4716" fmla="*/ 5867169 h 6858000"/>
              <a:gd name="connsiteX4717" fmla="*/ 5528441 w 6530564"/>
              <a:gd name="connsiteY4717" fmla="*/ 5859504 h 6858000"/>
              <a:gd name="connsiteX4718" fmla="*/ 5532115 w 6530564"/>
              <a:gd name="connsiteY4718" fmla="*/ 5853836 h 6858000"/>
              <a:gd name="connsiteX4719" fmla="*/ 5529439 w 6530564"/>
              <a:gd name="connsiteY4719" fmla="*/ 5864176 h 6858000"/>
              <a:gd name="connsiteX4720" fmla="*/ 5524768 w 6530564"/>
              <a:gd name="connsiteY4720" fmla="*/ 5865173 h 6858000"/>
              <a:gd name="connsiteX4721" fmla="*/ 5521095 w 6530564"/>
              <a:gd name="connsiteY4721" fmla="*/ 5870842 h 6858000"/>
              <a:gd name="connsiteX4722" fmla="*/ 5522093 w 6530564"/>
              <a:gd name="connsiteY4722" fmla="*/ 5875511 h 6858000"/>
              <a:gd name="connsiteX4723" fmla="*/ 5336527 w 6530564"/>
              <a:gd name="connsiteY4723" fmla="*/ 5986393 h 6858000"/>
              <a:gd name="connsiteX4724" fmla="*/ 5474406 w 6530564"/>
              <a:gd name="connsiteY4724" fmla="*/ 5921652 h 6858000"/>
              <a:gd name="connsiteX4725" fmla="*/ 5743583 w 6530564"/>
              <a:gd name="connsiteY4725" fmla="*/ 5764408 h 6858000"/>
              <a:gd name="connsiteX4726" fmla="*/ 5973095 w 6530564"/>
              <a:gd name="connsiteY4726" fmla="*/ 5598350 h 6858000"/>
              <a:gd name="connsiteX4727" fmla="*/ 5987645 w 6530564"/>
              <a:gd name="connsiteY4727" fmla="*/ 5585565 h 6858000"/>
              <a:gd name="connsiteX4728" fmla="*/ 6396010 w 6530564"/>
              <a:gd name="connsiteY4728" fmla="*/ 5084383 h 6858000"/>
              <a:gd name="connsiteX4729" fmla="*/ 6530564 w 6530564"/>
              <a:gd name="connsiteY4729" fmla="*/ 4845456 h 6858000"/>
              <a:gd name="connsiteX4730" fmla="*/ 6530564 w 6530564"/>
              <a:gd name="connsiteY4730" fmla="*/ 6858000 h 6858000"/>
              <a:gd name="connsiteX4731" fmla="*/ 1733020 w 6530564"/>
              <a:gd name="connsiteY4731" fmla="*/ 6858000 h 6858000"/>
              <a:gd name="connsiteX4732" fmla="*/ 1622264 w 6530564"/>
              <a:gd name="connsiteY4732" fmla="*/ 6769480 h 6858000"/>
              <a:gd name="connsiteX4733" fmla="*/ 1446345 w 6530564"/>
              <a:gd name="connsiteY4733" fmla="*/ 6620355 h 6858000"/>
              <a:gd name="connsiteX4734" fmla="*/ 1021180 w 6530564"/>
              <a:gd name="connsiteY4734" fmla="*/ 6222127 h 6858000"/>
              <a:gd name="connsiteX4735" fmla="*/ 994270 w 6530564"/>
              <a:gd name="connsiteY4735" fmla="*/ 6189838 h 6858000"/>
              <a:gd name="connsiteX4736" fmla="*/ 1002343 w 6530564"/>
              <a:gd name="connsiteY4736" fmla="*/ 6138714 h 6858000"/>
              <a:gd name="connsiteX4737" fmla="*/ 1040015 w 6530564"/>
              <a:gd name="connsiteY4737" fmla="*/ 6154859 h 6858000"/>
              <a:gd name="connsiteX4738" fmla="*/ 1255290 w 6530564"/>
              <a:gd name="connsiteY4738" fmla="*/ 6372807 h 6858000"/>
              <a:gd name="connsiteX4739" fmla="*/ 1301035 w 6530564"/>
              <a:gd name="connsiteY4739" fmla="*/ 6399714 h 6858000"/>
              <a:gd name="connsiteX4740" fmla="*/ 1311799 w 6530564"/>
              <a:gd name="connsiteY4740" fmla="*/ 6399714 h 6858000"/>
              <a:gd name="connsiteX4741" fmla="*/ 1306417 w 6530564"/>
              <a:gd name="connsiteY4741" fmla="*/ 6391643 h 6858000"/>
              <a:gd name="connsiteX4742" fmla="*/ 924306 w 6530564"/>
              <a:gd name="connsiteY4742" fmla="*/ 5969198 h 6858000"/>
              <a:gd name="connsiteX4743" fmla="*/ 811288 w 6530564"/>
              <a:gd name="connsiteY4743" fmla="*/ 5831971 h 6858000"/>
              <a:gd name="connsiteX4744" fmla="*/ 770924 w 6530564"/>
              <a:gd name="connsiteY4744" fmla="*/ 5805064 h 6858000"/>
              <a:gd name="connsiteX4745" fmla="*/ 894705 w 6530564"/>
              <a:gd name="connsiteY4745" fmla="*/ 6068755 h 6858000"/>
              <a:gd name="connsiteX4746" fmla="*/ 267721 w 6530564"/>
              <a:gd name="connsiteY4746" fmla="*/ 5019370 h 6858000"/>
              <a:gd name="connsiteX4747" fmla="*/ 326921 w 6530564"/>
              <a:gd name="connsiteY4747" fmla="*/ 5086639 h 6858000"/>
              <a:gd name="connsiteX4748" fmla="*/ 375357 w 6530564"/>
              <a:gd name="connsiteY4748" fmla="*/ 5167361 h 6858000"/>
              <a:gd name="connsiteX4749" fmla="*/ 493757 w 6530564"/>
              <a:gd name="connsiteY4749" fmla="*/ 5385309 h 6858000"/>
              <a:gd name="connsiteX4750" fmla="*/ 509903 w 6530564"/>
              <a:gd name="connsiteY4750" fmla="*/ 5377237 h 6858000"/>
              <a:gd name="connsiteX4751" fmla="*/ 386121 w 6530564"/>
              <a:gd name="connsiteY4751" fmla="*/ 5159289 h 6858000"/>
              <a:gd name="connsiteX4752" fmla="*/ 87429 w 6530564"/>
              <a:gd name="connsiteY4752" fmla="*/ 4255203 h 6858000"/>
              <a:gd name="connsiteX4753" fmla="*/ 146628 w 6530564"/>
              <a:gd name="connsiteY4753" fmla="*/ 2328641 h 6858000"/>
              <a:gd name="connsiteX4754" fmla="*/ 251574 w 6530564"/>
              <a:gd name="connsiteY4754" fmla="*/ 1973465 h 6858000"/>
              <a:gd name="connsiteX4755" fmla="*/ 273102 w 6530564"/>
              <a:gd name="connsiteY4755" fmla="*/ 1946557 h 6858000"/>
              <a:gd name="connsiteX4756" fmla="*/ 281175 w 6530564"/>
              <a:gd name="connsiteY4756" fmla="*/ 1965393 h 6858000"/>
              <a:gd name="connsiteX4757" fmla="*/ 65900 w 6530564"/>
              <a:gd name="connsiteY4757" fmla="*/ 3133169 h 6858000"/>
              <a:gd name="connsiteX4758" fmla="*/ 76665 w 6530564"/>
              <a:gd name="connsiteY4758" fmla="*/ 3754727 h 6858000"/>
              <a:gd name="connsiteX4759" fmla="*/ 79356 w 6530564"/>
              <a:gd name="connsiteY4759" fmla="*/ 3830068 h 6858000"/>
              <a:gd name="connsiteX4760" fmla="*/ 95501 w 6530564"/>
              <a:gd name="connsiteY4760" fmla="*/ 3862357 h 6858000"/>
              <a:gd name="connsiteX4761" fmla="*/ 117029 w 6530564"/>
              <a:gd name="connsiteY4761" fmla="*/ 3827377 h 6858000"/>
              <a:gd name="connsiteX4762" fmla="*/ 95501 w 6530564"/>
              <a:gd name="connsiteY4762" fmla="*/ 3534088 h 6858000"/>
              <a:gd name="connsiteX4763" fmla="*/ 711722 w 6530564"/>
              <a:gd name="connsiteY4763" fmla="*/ 1290020 h 6858000"/>
              <a:gd name="connsiteX4764" fmla="*/ 722486 w 6530564"/>
              <a:gd name="connsiteY4764" fmla="*/ 1273875 h 6858000"/>
              <a:gd name="connsiteX4765" fmla="*/ 741323 w 6530564"/>
              <a:gd name="connsiteY4765" fmla="*/ 1268493 h 6858000"/>
              <a:gd name="connsiteX4766" fmla="*/ 671359 w 6530564"/>
              <a:gd name="connsiteY4766" fmla="*/ 1411102 h 6858000"/>
              <a:gd name="connsiteX4767" fmla="*/ 238121 w 6530564"/>
              <a:gd name="connsiteY4767" fmla="*/ 2506229 h 6858000"/>
              <a:gd name="connsiteX4768" fmla="*/ 219284 w 6530564"/>
              <a:gd name="connsiteY4768" fmla="*/ 2638075 h 6858000"/>
              <a:gd name="connsiteX4769" fmla="*/ 230049 w 6530564"/>
              <a:gd name="connsiteY4769" fmla="*/ 2667673 h 6858000"/>
              <a:gd name="connsiteX4770" fmla="*/ 259647 w 6530564"/>
              <a:gd name="connsiteY4770" fmla="*/ 2648838 h 6858000"/>
              <a:gd name="connsiteX4771" fmla="*/ 289247 w 6530564"/>
              <a:gd name="connsiteY4771" fmla="*/ 2608477 h 6858000"/>
              <a:gd name="connsiteX4772" fmla="*/ 240811 w 6530564"/>
              <a:gd name="connsiteY4772" fmla="*/ 3528707 h 6858000"/>
              <a:gd name="connsiteX4773" fmla="*/ 256956 w 6530564"/>
              <a:gd name="connsiteY4773" fmla="*/ 3674006 h 6858000"/>
              <a:gd name="connsiteX4774" fmla="*/ 251574 w 6530564"/>
              <a:gd name="connsiteY4774" fmla="*/ 3528707 h 6858000"/>
              <a:gd name="connsiteX4775" fmla="*/ 302703 w 6530564"/>
              <a:gd name="connsiteY4775" fmla="*/ 2764539 h 6858000"/>
              <a:gd name="connsiteX4776" fmla="*/ 789760 w 6530564"/>
              <a:gd name="connsiteY4776" fmla="*/ 1427247 h 6858000"/>
              <a:gd name="connsiteX4777" fmla="*/ 811288 w 6530564"/>
              <a:gd name="connsiteY4777" fmla="*/ 1411102 h 6858000"/>
              <a:gd name="connsiteX4778" fmla="*/ 329611 w 6530564"/>
              <a:gd name="connsiteY4778" fmla="*/ 3267706 h 6858000"/>
              <a:gd name="connsiteX4779" fmla="*/ 353829 w 6530564"/>
              <a:gd name="connsiteY4779" fmla="*/ 3017468 h 6858000"/>
              <a:gd name="connsiteX4780" fmla="*/ 480303 w 6530564"/>
              <a:gd name="connsiteY4780" fmla="*/ 2377074 h 6858000"/>
              <a:gd name="connsiteX4781" fmla="*/ 536812 w 6530564"/>
              <a:gd name="connsiteY4781" fmla="*/ 2148363 h 6858000"/>
              <a:gd name="connsiteX4782" fmla="*/ 579867 w 6530564"/>
              <a:gd name="connsiteY4782" fmla="*/ 2126836 h 6858000"/>
              <a:gd name="connsiteX4783" fmla="*/ 604086 w 6530564"/>
              <a:gd name="connsiteY4783" fmla="*/ 2108002 h 6858000"/>
              <a:gd name="connsiteX4784" fmla="*/ 878561 w 6530564"/>
              <a:gd name="connsiteY4784" fmla="*/ 1516040 h 6858000"/>
              <a:gd name="connsiteX4785" fmla="*/ 916234 w 6530564"/>
              <a:gd name="connsiteY4785" fmla="*/ 1486443 h 6858000"/>
              <a:gd name="connsiteX4786" fmla="*/ 921615 w 6530564"/>
              <a:gd name="connsiteY4786" fmla="*/ 1537567 h 6858000"/>
              <a:gd name="connsiteX4787" fmla="*/ 813979 w 6530564"/>
              <a:gd name="connsiteY4787" fmla="*/ 1747443 h 6858000"/>
              <a:gd name="connsiteX4788" fmla="*/ 811288 w 6530564"/>
              <a:gd name="connsiteY4788" fmla="*/ 1763588 h 6858000"/>
              <a:gd name="connsiteX4789" fmla="*/ 822051 w 6530564"/>
              <a:gd name="connsiteY4789" fmla="*/ 1755515 h 6858000"/>
              <a:gd name="connsiteX4790" fmla="*/ 916234 w 6530564"/>
              <a:gd name="connsiteY4790" fmla="*/ 1664031 h 6858000"/>
              <a:gd name="connsiteX4791" fmla="*/ 1408672 w 6530564"/>
              <a:gd name="connsiteY4791" fmla="*/ 961751 h 6858000"/>
              <a:gd name="connsiteX4792" fmla="*/ 1849984 w 6530564"/>
              <a:gd name="connsiteY4792" fmla="*/ 576976 h 6858000"/>
              <a:gd name="connsiteX4793" fmla="*/ 1876892 w 6530564"/>
              <a:gd name="connsiteY4793" fmla="*/ 560831 h 6858000"/>
              <a:gd name="connsiteX4794" fmla="*/ 3989439 w 6530564"/>
              <a:gd name="connsiteY4794" fmla="*/ 394434 h 6858000"/>
              <a:gd name="connsiteX4795" fmla="*/ 4081738 w 6530564"/>
              <a:gd name="connsiteY4795" fmla="*/ 396538 h 6858000"/>
              <a:gd name="connsiteX4796" fmla="*/ 4080500 w 6530564"/>
              <a:gd name="connsiteY4796" fmla="*/ 396329 h 6858000"/>
              <a:gd name="connsiteX4797" fmla="*/ 4071877 w 6530564"/>
              <a:gd name="connsiteY4797" fmla="*/ 395619 h 6858000"/>
              <a:gd name="connsiteX4798" fmla="*/ 3502109 w 6530564"/>
              <a:gd name="connsiteY4798" fmla="*/ 0 h 6858000"/>
              <a:gd name="connsiteX4799" fmla="*/ 4589616 w 6530564"/>
              <a:gd name="connsiteY4799" fmla="*/ 0 h 6858000"/>
              <a:gd name="connsiteX4800" fmla="*/ 4634080 w 6530564"/>
              <a:gd name="connsiteY4800" fmla="*/ 6163 h 6858000"/>
              <a:gd name="connsiteX4801" fmla="*/ 5022582 w 6530564"/>
              <a:gd name="connsiteY4801" fmla="*/ 89954 h 6858000"/>
              <a:gd name="connsiteX4802" fmla="*/ 5418149 w 6530564"/>
              <a:gd name="connsiteY4802" fmla="*/ 216418 h 6858000"/>
              <a:gd name="connsiteX4803" fmla="*/ 5515022 w 6530564"/>
              <a:gd name="connsiteY4803" fmla="*/ 278306 h 6858000"/>
              <a:gd name="connsiteX4804" fmla="*/ 5679169 w 6530564"/>
              <a:gd name="connsiteY4804" fmla="*/ 353645 h 6858000"/>
              <a:gd name="connsiteX4805" fmla="*/ 5910587 w 6530564"/>
              <a:gd name="connsiteY4805" fmla="*/ 496254 h 6858000"/>
              <a:gd name="connsiteX4806" fmla="*/ 5940187 w 6530564"/>
              <a:gd name="connsiteY4806" fmla="*/ 531233 h 6858000"/>
              <a:gd name="connsiteX4807" fmla="*/ 6314226 w 6530564"/>
              <a:gd name="connsiteY4807" fmla="*/ 835286 h 6858000"/>
              <a:gd name="connsiteX4808" fmla="*/ 6400336 w 6530564"/>
              <a:gd name="connsiteY4808" fmla="*/ 878338 h 6858000"/>
              <a:gd name="connsiteX4809" fmla="*/ 6330373 w 6530564"/>
              <a:gd name="connsiteY4809" fmla="*/ 786854 h 6858000"/>
              <a:gd name="connsiteX4810" fmla="*/ 6136625 w 6530564"/>
              <a:gd name="connsiteY4810" fmla="*/ 638863 h 6858000"/>
              <a:gd name="connsiteX4811" fmla="*/ 6096262 w 6530564"/>
              <a:gd name="connsiteY4811" fmla="*/ 593120 h 6858000"/>
              <a:gd name="connsiteX4812" fmla="*/ 6077425 w 6530564"/>
              <a:gd name="connsiteY4812" fmla="*/ 555450 h 6858000"/>
              <a:gd name="connsiteX4813" fmla="*/ 5800259 w 6530564"/>
              <a:gd name="connsiteY4813" fmla="*/ 321356 h 6858000"/>
              <a:gd name="connsiteX4814" fmla="*/ 5560767 w 6530564"/>
              <a:gd name="connsiteY4814" fmla="*/ 197583 h 6858000"/>
              <a:gd name="connsiteX4815" fmla="*/ 4990292 w 6530564"/>
              <a:gd name="connsiteY4815" fmla="*/ 25376 h 6858000"/>
              <a:gd name="connsiteX4816" fmla="*/ 4858639 w 6530564"/>
              <a:gd name="connsiteY4816" fmla="*/ 0 h 6858000"/>
              <a:gd name="connsiteX4817" fmla="*/ 5574004 w 6530564"/>
              <a:gd name="connsiteY4817" fmla="*/ 0 h 6858000"/>
              <a:gd name="connsiteX4818" fmla="*/ 5574348 w 6530564"/>
              <a:gd name="connsiteY4818" fmla="*/ 150 h 6858000"/>
              <a:gd name="connsiteX4819" fmla="*/ 5641495 w 6530564"/>
              <a:gd name="connsiteY4819" fmla="*/ 17304 h 6858000"/>
              <a:gd name="connsiteX4820" fmla="*/ 5693716 w 6530564"/>
              <a:gd name="connsiteY4820" fmla="*/ 15413 h 6858000"/>
              <a:gd name="connsiteX4821" fmla="*/ 5701308 w 6530564"/>
              <a:gd name="connsiteY4821" fmla="*/ 0 h 6858000"/>
              <a:gd name="connsiteX4822" fmla="*/ 5893094 w 6530564"/>
              <a:gd name="connsiteY4822" fmla="*/ 0 h 6858000"/>
              <a:gd name="connsiteX4823" fmla="*/ 5928120 w 6530564"/>
              <a:gd name="connsiteY4823" fmla="*/ 15497 h 6858000"/>
              <a:gd name="connsiteX4824" fmla="*/ 6037061 w 6530564"/>
              <a:gd name="connsiteY4824" fmla="*/ 65738 h 6858000"/>
              <a:gd name="connsiteX4825" fmla="*/ 6287317 w 6530564"/>
              <a:gd name="connsiteY4825" fmla="*/ 211037 h 6858000"/>
              <a:gd name="connsiteX4826" fmla="*/ 6050517 w 6530564"/>
              <a:gd name="connsiteY4826" fmla="*/ 54974 h 6858000"/>
              <a:gd name="connsiteX4827" fmla="*/ 5964995 w 6530564"/>
              <a:gd name="connsiteY4827" fmla="*/ 3094 h 6858000"/>
              <a:gd name="connsiteX4828" fmla="*/ 5958708 w 6530564"/>
              <a:gd name="connsiteY4828" fmla="*/ 0 h 6858000"/>
              <a:gd name="connsiteX4829" fmla="*/ 6034737 w 6530564"/>
              <a:gd name="connsiteY4829" fmla="*/ 0 h 6858000"/>
              <a:gd name="connsiteX4830" fmla="*/ 6100298 w 6530564"/>
              <a:gd name="connsiteY4830" fmla="*/ 33785 h 6858000"/>
              <a:gd name="connsiteX4831" fmla="*/ 6333063 w 6530564"/>
              <a:gd name="connsiteY4831" fmla="*/ 176056 h 6858000"/>
              <a:gd name="connsiteX4832" fmla="*/ 6349209 w 6530564"/>
              <a:gd name="connsiteY4832" fmla="*/ 178747 h 6858000"/>
              <a:gd name="connsiteX4833" fmla="*/ 6319607 w 6530564"/>
              <a:gd name="connsiteY4833" fmla="*/ 100717 h 6858000"/>
              <a:gd name="connsiteX4834" fmla="*/ 6159296 w 6530564"/>
              <a:gd name="connsiteY4834" fmla="*/ 0 h 6858000"/>
              <a:gd name="connsiteX4835" fmla="*/ 6494412 w 6530564"/>
              <a:gd name="connsiteY4835" fmla="*/ 0 h 6858000"/>
              <a:gd name="connsiteX4836" fmla="*/ 6530564 w 6530564"/>
              <a:gd name="connsiteY4836" fmla="*/ 24963 h 6858000"/>
              <a:gd name="connsiteX4837" fmla="*/ 6530564 w 6530564"/>
              <a:gd name="connsiteY4837" fmla="*/ 2283869 h 6858000"/>
              <a:gd name="connsiteX4838" fmla="*/ 6452592 w 6530564"/>
              <a:gd name="connsiteY4838" fmla="*/ 2135053 h 6858000"/>
              <a:gd name="connsiteX4839" fmla="*/ 6165817 w 6530564"/>
              <a:gd name="connsiteY4839" fmla="*/ 1732932 h 6858000"/>
              <a:gd name="connsiteX4840" fmla="*/ 5773745 w 6530564"/>
              <a:gd name="connsiteY4840" fmla="*/ 1338044 h 6858000"/>
              <a:gd name="connsiteX4841" fmla="*/ 5784085 w 6530564"/>
              <a:gd name="connsiteY4841" fmla="*/ 1340719 h 6858000"/>
              <a:gd name="connsiteX4842" fmla="*/ 5718731 w 6530564"/>
              <a:gd name="connsiteY4842" fmla="*/ 1286303 h 6858000"/>
              <a:gd name="connsiteX4843" fmla="*/ 5679049 w 6530564"/>
              <a:gd name="connsiteY4843" fmla="*/ 1260591 h 6858000"/>
              <a:gd name="connsiteX4844" fmla="*/ 5559003 w 6530564"/>
              <a:gd name="connsiteY4844" fmla="*/ 1178786 h 6858000"/>
              <a:gd name="connsiteX4845" fmla="*/ 5513651 w 6530564"/>
              <a:gd name="connsiteY4845" fmla="*/ 1149403 h 6858000"/>
              <a:gd name="connsiteX4846" fmla="*/ 5089115 w 6530564"/>
              <a:gd name="connsiteY4846" fmla="*/ 922629 h 6858000"/>
              <a:gd name="connsiteX4847" fmla="*/ 5219861 w 6530564"/>
              <a:gd name="connsiteY4847" fmla="*/ 963072 h 6858000"/>
              <a:gd name="connsiteX4848" fmla="*/ 5243535 w 6530564"/>
              <a:gd name="connsiteY4848" fmla="*/ 982437 h 6858000"/>
              <a:gd name="connsiteX4849" fmla="*/ 5376279 w 6530564"/>
              <a:gd name="connsiteY4849" fmla="*/ 1032223 h 6858000"/>
              <a:gd name="connsiteX4850" fmla="*/ 5339271 w 6530564"/>
              <a:gd name="connsiteY4850" fmla="*/ 996174 h 6858000"/>
              <a:gd name="connsiteX4851" fmla="*/ 5227209 w 6530564"/>
              <a:gd name="connsiteY4851" fmla="*/ 951735 h 6858000"/>
              <a:gd name="connsiteX4852" fmla="*/ 5203535 w 6530564"/>
              <a:gd name="connsiteY4852" fmla="*/ 932372 h 6858000"/>
              <a:gd name="connsiteX4853" fmla="*/ 5115146 w 6530564"/>
              <a:gd name="connsiteY4853" fmla="*/ 907298 h 6858000"/>
              <a:gd name="connsiteX4854" fmla="*/ 5028434 w 6530564"/>
              <a:gd name="connsiteY4854" fmla="*/ 867212 h 6858000"/>
              <a:gd name="connsiteX4855" fmla="*/ 5004080 w 6530564"/>
              <a:gd name="connsiteY4855" fmla="*/ 867531 h 6858000"/>
              <a:gd name="connsiteX4856" fmla="*/ 4965395 w 6530564"/>
              <a:gd name="connsiteY4856" fmla="*/ 846491 h 6858000"/>
              <a:gd name="connsiteX4857" fmla="*/ 4917369 w 6530564"/>
              <a:gd name="connsiteY4857" fmla="*/ 827446 h 6858000"/>
              <a:gd name="connsiteX4858" fmla="*/ 4859320 w 6530564"/>
              <a:gd name="connsiteY4858" fmla="*/ 830080 h 6858000"/>
              <a:gd name="connsiteX4859" fmla="*/ 4876327 w 6530564"/>
              <a:gd name="connsiteY4859" fmla="*/ 841099 h 6858000"/>
              <a:gd name="connsiteX4860" fmla="*/ 3393185 w 6530564"/>
              <a:gd name="connsiteY4860" fmla="*/ 757460 h 6858000"/>
              <a:gd name="connsiteX4861" fmla="*/ 3342975 w 6530564"/>
              <a:gd name="connsiteY4861" fmla="*/ 770687 h 6858000"/>
              <a:gd name="connsiteX4862" fmla="*/ 3291917 w 6530564"/>
              <a:gd name="connsiteY4862" fmla="*/ 780409 h 6858000"/>
              <a:gd name="connsiteX4863" fmla="*/ 2400079 w 6530564"/>
              <a:gd name="connsiteY4863" fmla="*/ 1173988 h 6858000"/>
              <a:gd name="connsiteX4864" fmla="*/ 2269683 w 6530564"/>
              <a:gd name="connsiteY4864" fmla="*/ 1256599 h 6858000"/>
              <a:gd name="connsiteX4865" fmla="*/ 2246824 w 6530564"/>
              <a:gd name="connsiteY4865" fmla="*/ 1263510 h 6858000"/>
              <a:gd name="connsiteX4866" fmla="*/ 2244901 w 6530564"/>
              <a:gd name="connsiteY4866" fmla="*/ 1235531 h 6858000"/>
              <a:gd name="connsiteX4867" fmla="*/ 2297569 w 6530564"/>
              <a:gd name="connsiteY4867" fmla="*/ 1187778 h 6858000"/>
              <a:gd name="connsiteX4868" fmla="*/ 2654790 w 6530564"/>
              <a:gd name="connsiteY4868" fmla="*/ 989786 h 6858000"/>
              <a:gd name="connsiteX4869" fmla="*/ 2604795 w 6530564"/>
              <a:gd name="connsiteY4869" fmla="*/ 974104 h 6858000"/>
              <a:gd name="connsiteX4870" fmla="*/ 2728393 w 6530564"/>
              <a:gd name="connsiteY4870" fmla="*/ 907142 h 6858000"/>
              <a:gd name="connsiteX4871" fmla="*/ 3647056 w 6530564"/>
              <a:gd name="connsiteY4871" fmla="*/ 660175 h 6858000"/>
              <a:gd name="connsiteX4872" fmla="*/ 4318016 w 6530564"/>
              <a:gd name="connsiteY4872" fmla="*/ 687170 h 6858000"/>
              <a:gd name="connsiteX4873" fmla="*/ 4516487 w 6530564"/>
              <a:gd name="connsiteY4873" fmla="*/ 723856 h 6858000"/>
              <a:gd name="connsiteX4874" fmla="*/ 4557781 w 6530564"/>
              <a:gd name="connsiteY4874" fmla="*/ 698810 h 6858000"/>
              <a:gd name="connsiteX4875" fmla="*/ 4518180 w 6530564"/>
              <a:gd name="connsiteY4875" fmla="*/ 674824 h 6858000"/>
              <a:gd name="connsiteX4876" fmla="*/ 4454063 w 6530564"/>
              <a:gd name="connsiteY4876" fmla="*/ 649993 h 6858000"/>
              <a:gd name="connsiteX4877" fmla="*/ 4809052 w 6530564"/>
              <a:gd name="connsiteY4877" fmla="*/ 697851 h 6858000"/>
              <a:gd name="connsiteX4878" fmla="*/ 5011799 w 6530564"/>
              <a:gd name="connsiteY4878" fmla="*/ 764041 h 6858000"/>
              <a:gd name="connsiteX4879" fmla="*/ 4817092 w 6530564"/>
              <a:gd name="connsiteY4879" fmla="*/ 688021 h 6858000"/>
              <a:gd name="connsiteX4880" fmla="*/ 4528741 w 6530564"/>
              <a:gd name="connsiteY4880" fmla="*/ 619842 h 6858000"/>
              <a:gd name="connsiteX4881" fmla="*/ 3716648 w 6530564"/>
              <a:gd name="connsiteY4881" fmla="*/ 568249 h 6858000"/>
              <a:gd name="connsiteX4882" fmla="*/ 3612199 w 6530564"/>
              <a:gd name="connsiteY4882" fmla="*/ 582452 h 6858000"/>
              <a:gd name="connsiteX4883" fmla="*/ 3645435 w 6530564"/>
              <a:gd name="connsiteY4883" fmla="*/ 595629 h 6858000"/>
              <a:gd name="connsiteX4884" fmla="*/ 4335789 w 6530564"/>
              <a:gd name="connsiteY4884" fmla="*/ 618481 h 6858000"/>
              <a:gd name="connsiteX4885" fmla="*/ 4369439 w 6530564"/>
              <a:gd name="connsiteY4885" fmla="*/ 633599 h 6858000"/>
              <a:gd name="connsiteX4886" fmla="*/ 4330367 w 6530564"/>
              <a:gd name="connsiteY4886" fmla="*/ 650057 h 6858000"/>
              <a:gd name="connsiteX4887" fmla="*/ 4109450 w 6530564"/>
              <a:gd name="connsiteY4887" fmla="*/ 622223 h 6858000"/>
              <a:gd name="connsiteX4888" fmla="*/ 3144894 w 6530564"/>
              <a:gd name="connsiteY4888" fmla="*/ 720819 h 6858000"/>
              <a:gd name="connsiteX4889" fmla="*/ 2449900 w 6530564"/>
              <a:gd name="connsiteY4889" fmla="*/ 1027476 h 6858000"/>
              <a:gd name="connsiteX4890" fmla="*/ 2308845 w 6530564"/>
              <a:gd name="connsiteY4890" fmla="*/ 1098169 h 6858000"/>
              <a:gd name="connsiteX4891" fmla="*/ 3399136 w 6530564"/>
              <a:gd name="connsiteY4891" fmla="*/ 619861 h 6858000"/>
              <a:gd name="connsiteX4892" fmla="*/ 3330855 w 6530564"/>
              <a:gd name="connsiteY4892" fmla="*/ 604030 h 6858000"/>
              <a:gd name="connsiteX4893" fmla="*/ 3520230 w 6530564"/>
              <a:gd name="connsiteY4893" fmla="*/ 569654 h 6858000"/>
              <a:gd name="connsiteX4894" fmla="*/ 3790217 w 6530564"/>
              <a:gd name="connsiteY4894" fmla="*/ 542392 h 6858000"/>
              <a:gd name="connsiteX4895" fmla="*/ 3810723 w 6530564"/>
              <a:gd name="connsiteY4895" fmla="*/ 533954 h 6858000"/>
              <a:gd name="connsiteX4896" fmla="*/ 3790368 w 6530564"/>
              <a:gd name="connsiteY4896" fmla="*/ 524109 h 6858000"/>
              <a:gd name="connsiteX4897" fmla="*/ 3455830 w 6530564"/>
              <a:gd name="connsiteY4897" fmla="*/ 552995 h 6858000"/>
              <a:gd name="connsiteX4898" fmla="*/ 3373410 w 6530564"/>
              <a:gd name="connsiteY4898" fmla="*/ 556409 h 6858000"/>
              <a:gd name="connsiteX4899" fmla="*/ 3041191 w 6530564"/>
              <a:gd name="connsiteY4899" fmla="*/ 643608 h 6858000"/>
              <a:gd name="connsiteX4900" fmla="*/ 2341622 w 6530564"/>
              <a:gd name="connsiteY4900" fmla="*/ 957326 h 6858000"/>
              <a:gd name="connsiteX4901" fmla="*/ 1953599 w 6530564"/>
              <a:gd name="connsiteY4901" fmla="*/ 1238958 h 6858000"/>
              <a:gd name="connsiteX4902" fmla="*/ 1914658 w 6530564"/>
              <a:gd name="connsiteY4902" fmla="*/ 1265528 h 6858000"/>
              <a:gd name="connsiteX4903" fmla="*/ 1953768 w 6530564"/>
              <a:gd name="connsiteY4903" fmla="*/ 1192281 h 6858000"/>
              <a:gd name="connsiteX4904" fmla="*/ 2273195 w 6530564"/>
              <a:gd name="connsiteY4904" fmla="*/ 959778 h 6858000"/>
              <a:gd name="connsiteX4905" fmla="*/ 3429259 w 6530564"/>
              <a:gd name="connsiteY4905" fmla="*/ 514058 h 6858000"/>
              <a:gd name="connsiteX4906" fmla="*/ 3947467 w 6530564"/>
              <a:gd name="connsiteY4906" fmla="*/ 490544 h 6858000"/>
              <a:gd name="connsiteX4907" fmla="*/ 4596509 w 6530564"/>
              <a:gd name="connsiteY4907" fmla="*/ 566835 h 6858000"/>
              <a:gd name="connsiteX4908" fmla="*/ 4640121 w 6530564"/>
              <a:gd name="connsiteY4908" fmla="*/ 600103 h 6858000"/>
              <a:gd name="connsiteX4909" fmla="*/ 4657014 w 6530564"/>
              <a:gd name="connsiteY4909" fmla="*/ 612717 h 6858000"/>
              <a:gd name="connsiteX4910" fmla="*/ 5039385 w 6530564"/>
              <a:gd name="connsiteY4910" fmla="*/ 731785 h 6858000"/>
              <a:gd name="connsiteX4911" fmla="*/ 5051435 w 6530564"/>
              <a:gd name="connsiteY4911" fmla="*/ 731238 h 6858000"/>
              <a:gd name="connsiteX4912" fmla="*/ 5018085 w 6530564"/>
              <a:gd name="connsiteY4912" fmla="*/ 679555 h 6858000"/>
              <a:gd name="connsiteX4913" fmla="*/ 4427845 w 6530564"/>
              <a:gd name="connsiteY4913" fmla="*/ 489308 h 6858000"/>
              <a:gd name="connsiteX4914" fmla="*/ 4310509 w 6530564"/>
              <a:gd name="connsiteY4914" fmla="*/ 471335 h 6858000"/>
              <a:gd name="connsiteX4915" fmla="*/ 4176892 w 6530564"/>
              <a:gd name="connsiteY4915" fmla="*/ 462604 h 6858000"/>
              <a:gd name="connsiteX4916" fmla="*/ 3954287 w 6530564"/>
              <a:gd name="connsiteY4916" fmla="*/ 461274 h 6858000"/>
              <a:gd name="connsiteX4917" fmla="*/ 3706721 w 6530564"/>
              <a:gd name="connsiteY4917" fmla="*/ 469347 h 6858000"/>
              <a:gd name="connsiteX4918" fmla="*/ 3819638 w 6530564"/>
              <a:gd name="connsiteY4918" fmla="*/ 441228 h 6858000"/>
              <a:gd name="connsiteX4919" fmla="*/ 3678438 w 6530564"/>
              <a:gd name="connsiteY4919" fmla="*/ 446944 h 6858000"/>
              <a:gd name="connsiteX4920" fmla="*/ 3428450 w 6530564"/>
              <a:gd name="connsiteY4920" fmla="*/ 481785 h 6858000"/>
              <a:gd name="connsiteX4921" fmla="*/ 2876370 w 6530564"/>
              <a:gd name="connsiteY4921" fmla="*/ 622042 h 6858000"/>
              <a:gd name="connsiteX4922" fmla="*/ 2659974 w 6530564"/>
              <a:gd name="connsiteY4922" fmla="*/ 672328 h 6858000"/>
              <a:gd name="connsiteX4923" fmla="*/ 3002779 w 6530564"/>
              <a:gd name="connsiteY4923" fmla="*/ 546873 h 6858000"/>
              <a:gd name="connsiteX4924" fmla="*/ 3243522 w 6530564"/>
              <a:gd name="connsiteY4924" fmla="*/ 482631 h 6858000"/>
              <a:gd name="connsiteX4925" fmla="*/ 3245900 w 6530564"/>
              <a:gd name="connsiteY4925" fmla="*/ 478428 h 6858000"/>
              <a:gd name="connsiteX4926" fmla="*/ 3260028 w 6530564"/>
              <a:gd name="connsiteY4926" fmla="*/ 466656 h 6858000"/>
              <a:gd name="connsiteX4927" fmla="*/ 3251955 w 6530564"/>
              <a:gd name="connsiteY4927" fmla="*/ 461274 h 6858000"/>
              <a:gd name="connsiteX4928" fmla="*/ 3098571 w 6530564"/>
              <a:gd name="connsiteY4928" fmla="*/ 490872 h 6858000"/>
              <a:gd name="connsiteX4929" fmla="*/ 2651879 w 6530564"/>
              <a:gd name="connsiteY4929" fmla="*/ 673842 h 6858000"/>
              <a:gd name="connsiteX4930" fmla="*/ 2549624 w 6530564"/>
              <a:gd name="connsiteY4930" fmla="*/ 692677 h 6858000"/>
              <a:gd name="connsiteX4931" fmla="*/ 2455442 w 6530564"/>
              <a:gd name="connsiteY4931" fmla="*/ 727656 h 6858000"/>
              <a:gd name="connsiteX4932" fmla="*/ 2291295 w 6530564"/>
              <a:gd name="connsiteY4932" fmla="*/ 751874 h 6858000"/>
              <a:gd name="connsiteX4933" fmla="*/ 3763231 w 6530564"/>
              <a:gd name="connsiteY4933" fmla="*/ 200274 h 6858000"/>
              <a:gd name="connsiteX4934" fmla="*/ 2579224 w 6530564"/>
              <a:gd name="connsiteY4934" fmla="*/ 507017 h 6858000"/>
              <a:gd name="connsiteX4935" fmla="*/ 3604465 w 6530564"/>
              <a:gd name="connsiteY4935" fmla="*/ 146459 h 6858000"/>
              <a:gd name="connsiteX4936" fmla="*/ 4702363 w 6530564"/>
              <a:gd name="connsiteY4936" fmla="*/ 165295 h 6858000"/>
              <a:gd name="connsiteX4937" fmla="*/ 4632399 w 6530564"/>
              <a:gd name="connsiteY4937" fmla="*/ 133006 h 6858000"/>
              <a:gd name="connsiteX4938" fmla="*/ 3854723 w 6530564"/>
              <a:gd name="connsiteY4938" fmla="*/ 89954 h 6858000"/>
              <a:gd name="connsiteX4939" fmla="*/ 3763231 w 6530564"/>
              <a:gd name="connsiteY4939" fmla="*/ 76501 h 6858000"/>
              <a:gd name="connsiteX4940" fmla="*/ 3728249 w 6530564"/>
              <a:gd name="connsiteY4940" fmla="*/ 73810 h 6858000"/>
              <a:gd name="connsiteX4941" fmla="*/ 3356901 w 6530564"/>
              <a:gd name="connsiteY4941" fmla="*/ 157222 h 6858000"/>
              <a:gd name="connsiteX4942" fmla="*/ 2633042 w 6530564"/>
              <a:gd name="connsiteY4942" fmla="*/ 383243 h 6858000"/>
              <a:gd name="connsiteX4943" fmla="*/ 2565769 w 6530564"/>
              <a:gd name="connsiteY4943" fmla="*/ 396697 h 6858000"/>
              <a:gd name="connsiteX4944" fmla="*/ 3141627 w 6530564"/>
              <a:gd name="connsiteY4944" fmla="*/ 151840 h 6858000"/>
              <a:gd name="connsiteX4945" fmla="*/ 2756825 w 6530564"/>
              <a:gd name="connsiteY4945" fmla="*/ 229872 h 6858000"/>
              <a:gd name="connsiteX4946" fmla="*/ 2861770 w 6530564"/>
              <a:gd name="connsiteY4946" fmla="*/ 170676 h 6858000"/>
              <a:gd name="connsiteX4947" fmla="*/ 3120100 w 6530564"/>
              <a:gd name="connsiteY4947" fmla="*/ 103408 h 6858000"/>
              <a:gd name="connsiteX4948" fmla="*/ 3319228 w 6530564"/>
              <a:gd name="connsiteY4948" fmla="*/ 76501 h 6858000"/>
              <a:gd name="connsiteX4949" fmla="*/ 3399956 w 6530564"/>
              <a:gd name="connsiteY4949" fmla="*/ 33449 h 6858000"/>
              <a:gd name="connsiteX4950" fmla="*/ 3456465 w 6530564"/>
              <a:gd name="connsiteY4950" fmla="*/ 6542 h 6858000"/>
              <a:gd name="connsiteX4951" fmla="*/ 2942330 w 6530564"/>
              <a:gd name="connsiteY4951" fmla="*/ 0 h 6858000"/>
              <a:gd name="connsiteX4952" fmla="*/ 3174123 w 6530564"/>
              <a:gd name="connsiteY4952" fmla="*/ 0 h 6858000"/>
              <a:gd name="connsiteX4953" fmla="*/ 3100717 w 6530564"/>
              <a:gd name="connsiteY4953" fmla="*/ 23190 h 6858000"/>
              <a:gd name="connsiteX4954" fmla="*/ 3012463 w 6530564"/>
              <a:gd name="connsiteY4954" fmla="*/ 63047 h 6858000"/>
              <a:gd name="connsiteX4955" fmla="*/ 2439295 w 6530564"/>
              <a:gd name="connsiteY4955" fmla="*/ 291759 h 6858000"/>
              <a:gd name="connsiteX4956" fmla="*/ 2380096 w 6530564"/>
              <a:gd name="connsiteY4956" fmla="*/ 291759 h 6858000"/>
              <a:gd name="connsiteX4957" fmla="*/ 2396241 w 6530564"/>
              <a:gd name="connsiteY4957" fmla="*/ 229872 h 6858000"/>
              <a:gd name="connsiteX4958" fmla="*/ 2452751 w 6530564"/>
              <a:gd name="connsiteY4958" fmla="*/ 189511 h 6858000"/>
              <a:gd name="connsiteX4959" fmla="*/ 2834861 w 6530564"/>
              <a:gd name="connsiteY4959" fmla="*/ 39503 h 6858000"/>
              <a:gd name="connsiteX4960" fmla="*/ 2576296 w 6530564"/>
              <a:gd name="connsiteY4960" fmla="*/ 0 h 6858000"/>
              <a:gd name="connsiteX4961" fmla="*/ 2746997 w 6530564"/>
              <a:gd name="connsiteY4961" fmla="*/ 0 h 6858000"/>
              <a:gd name="connsiteX4962" fmla="*/ 2705697 w 6530564"/>
              <a:gd name="connsiteY4962" fmla="*/ 14613 h 6858000"/>
              <a:gd name="connsiteX4963" fmla="*/ 2509260 w 6530564"/>
              <a:gd name="connsiteY4963" fmla="*/ 87263 h 6858000"/>
              <a:gd name="connsiteX4964" fmla="*/ 2476969 w 6530564"/>
              <a:gd name="connsiteY4964" fmla="*/ 89954 h 6858000"/>
              <a:gd name="connsiteX4965" fmla="*/ 2482350 w 6530564"/>
              <a:gd name="connsiteY4965" fmla="*/ 52283 h 6858000"/>
              <a:gd name="connsiteX4966" fmla="*/ 2565769 w 6530564"/>
              <a:gd name="connsiteY4966" fmla="*/ 38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Lst>
            <a:rect l="l" t="t" r="r" b="b"/>
            <a:pathLst>
              <a:path w="6530564" h="6858000">
                <a:moveTo>
                  <a:pt x="4044771" y="6093451"/>
                </a:moveTo>
                <a:lnTo>
                  <a:pt x="4045742" y="6095312"/>
                </a:lnTo>
                <a:lnTo>
                  <a:pt x="4035428" y="6095447"/>
                </a:lnTo>
                <a:cubicBezTo>
                  <a:pt x="4040099" y="6094449"/>
                  <a:pt x="4040099" y="6094449"/>
                  <a:pt x="4044771" y="6093451"/>
                </a:cubicBezTo>
                <a:close/>
                <a:moveTo>
                  <a:pt x="4313376" y="6001876"/>
                </a:moveTo>
                <a:cubicBezTo>
                  <a:pt x="4319045" y="6005548"/>
                  <a:pt x="4328387" y="6003552"/>
                  <a:pt x="4333057" y="6002555"/>
                </a:cubicBezTo>
                <a:cubicBezTo>
                  <a:pt x="4334056" y="6007226"/>
                  <a:pt x="4334056" y="6007226"/>
                  <a:pt x="4334056" y="6007226"/>
                </a:cubicBezTo>
                <a:cubicBezTo>
                  <a:pt x="4334056" y="6007226"/>
                  <a:pt x="4334056" y="6007226"/>
                  <a:pt x="4335053" y="6011898"/>
                </a:cubicBezTo>
                <a:cubicBezTo>
                  <a:pt x="4315371" y="6011217"/>
                  <a:pt x="4278005" y="6019202"/>
                  <a:pt x="4253651" y="6019520"/>
                </a:cubicBezTo>
                <a:cubicBezTo>
                  <a:pt x="4261995" y="6012854"/>
                  <a:pt x="4310701" y="6012216"/>
                  <a:pt x="4308706" y="6002875"/>
                </a:cubicBezTo>
                <a:close/>
                <a:moveTo>
                  <a:pt x="4371425" y="5999243"/>
                </a:moveTo>
                <a:lnTo>
                  <a:pt x="4381959" y="5999606"/>
                </a:lnTo>
                <a:lnTo>
                  <a:pt x="4343399" y="6005230"/>
                </a:lnTo>
                <a:cubicBezTo>
                  <a:pt x="4348069" y="6004231"/>
                  <a:pt x="4348069" y="6004231"/>
                  <a:pt x="4348069" y="6004231"/>
                </a:cubicBezTo>
                <a:cubicBezTo>
                  <a:pt x="4348069" y="6004231"/>
                  <a:pt x="4348069" y="6004231"/>
                  <a:pt x="4352740" y="6003234"/>
                </a:cubicBezTo>
                <a:cubicBezTo>
                  <a:pt x="4357411" y="6002237"/>
                  <a:pt x="4366753" y="6000241"/>
                  <a:pt x="4371425" y="5999243"/>
                </a:cubicBezTo>
                <a:close/>
                <a:moveTo>
                  <a:pt x="5313770" y="5992063"/>
                </a:moveTo>
                <a:cubicBezTo>
                  <a:pt x="5311185" y="5991394"/>
                  <a:pt x="5307682" y="5992143"/>
                  <a:pt x="5303509" y="5995476"/>
                </a:cubicBezTo>
                <a:cubicBezTo>
                  <a:pt x="5304507" y="6000145"/>
                  <a:pt x="5304507" y="6000145"/>
                  <a:pt x="5304507" y="6000145"/>
                </a:cubicBezTo>
                <a:lnTo>
                  <a:pt x="5254793" y="6024769"/>
                </a:lnTo>
                <a:lnTo>
                  <a:pt x="5317025" y="5995549"/>
                </a:lnTo>
                <a:close/>
                <a:moveTo>
                  <a:pt x="4434660" y="5991919"/>
                </a:moveTo>
                <a:lnTo>
                  <a:pt x="4395777" y="5998924"/>
                </a:lnTo>
                <a:cubicBezTo>
                  <a:pt x="4395777" y="5998924"/>
                  <a:pt x="4395777" y="5998924"/>
                  <a:pt x="4391107" y="5999922"/>
                </a:cubicBezTo>
                <a:lnTo>
                  <a:pt x="4381959" y="5999606"/>
                </a:lnTo>
                <a:close/>
                <a:moveTo>
                  <a:pt x="5563150" y="5743821"/>
                </a:moveTo>
                <a:lnTo>
                  <a:pt x="5562539" y="5744767"/>
                </a:lnTo>
                <a:cubicBezTo>
                  <a:pt x="5562539" y="5744767"/>
                  <a:pt x="5562539" y="5744767"/>
                  <a:pt x="5557868" y="5745764"/>
                </a:cubicBezTo>
                <a:close/>
                <a:moveTo>
                  <a:pt x="2418715" y="5683798"/>
                </a:moveTo>
                <a:lnTo>
                  <a:pt x="2423109" y="5687744"/>
                </a:lnTo>
                <a:lnTo>
                  <a:pt x="2419712" y="5688470"/>
                </a:lnTo>
                <a:cubicBezTo>
                  <a:pt x="2419712" y="5688470"/>
                  <a:pt x="2419712" y="5688470"/>
                  <a:pt x="2418715" y="5683798"/>
                </a:cubicBezTo>
                <a:close/>
                <a:moveTo>
                  <a:pt x="5855983" y="5403674"/>
                </a:moveTo>
                <a:lnTo>
                  <a:pt x="5851753" y="5406742"/>
                </a:lnTo>
                <a:lnTo>
                  <a:pt x="5851313" y="5404671"/>
                </a:lnTo>
                <a:cubicBezTo>
                  <a:pt x="5851313" y="5404671"/>
                  <a:pt x="5851313" y="5404671"/>
                  <a:pt x="5855983" y="5403674"/>
                </a:cubicBezTo>
                <a:close/>
                <a:moveTo>
                  <a:pt x="4512474" y="5165146"/>
                </a:moveTo>
                <a:lnTo>
                  <a:pt x="4513179" y="5165335"/>
                </a:lnTo>
                <a:lnTo>
                  <a:pt x="4508315" y="5167547"/>
                </a:lnTo>
                <a:cubicBezTo>
                  <a:pt x="4508315" y="5167547"/>
                  <a:pt x="4512474" y="5165146"/>
                  <a:pt x="4512474" y="5165146"/>
                </a:cubicBezTo>
                <a:close/>
                <a:moveTo>
                  <a:pt x="4373541" y="5128612"/>
                </a:moveTo>
                <a:lnTo>
                  <a:pt x="4362165" y="5131201"/>
                </a:lnTo>
                <a:lnTo>
                  <a:pt x="4370545" y="5130631"/>
                </a:lnTo>
                <a:close/>
                <a:moveTo>
                  <a:pt x="3626785" y="5124711"/>
                </a:moveTo>
                <a:cubicBezTo>
                  <a:pt x="3633346" y="5126470"/>
                  <a:pt x="3636626" y="5127349"/>
                  <a:pt x="3639907" y="5128227"/>
                </a:cubicBezTo>
                <a:cubicBezTo>
                  <a:pt x="3635747" y="5130630"/>
                  <a:pt x="3632467" y="5129750"/>
                  <a:pt x="3629186" y="5128871"/>
                </a:cubicBezTo>
                <a:cubicBezTo>
                  <a:pt x="3629186" y="5128871"/>
                  <a:pt x="3629186" y="5128871"/>
                  <a:pt x="3625905" y="5127992"/>
                </a:cubicBezTo>
                <a:cubicBezTo>
                  <a:pt x="3622627" y="5127114"/>
                  <a:pt x="3622627" y="5127114"/>
                  <a:pt x="3622627" y="5127114"/>
                </a:cubicBezTo>
                <a:lnTo>
                  <a:pt x="3619346" y="5126234"/>
                </a:lnTo>
                <a:cubicBezTo>
                  <a:pt x="3619346" y="5126234"/>
                  <a:pt x="3622627" y="5127114"/>
                  <a:pt x="3626785" y="5124711"/>
                </a:cubicBezTo>
                <a:close/>
                <a:moveTo>
                  <a:pt x="3360612" y="5081517"/>
                </a:moveTo>
                <a:cubicBezTo>
                  <a:pt x="3363892" y="5082396"/>
                  <a:pt x="3363892" y="5082396"/>
                  <a:pt x="3363892" y="5082396"/>
                </a:cubicBezTo>
                <a:cubicBezTo>
                  <a:pt x="3360612" y="5081517"/>
                  <a:pt x="3359734" y="5084797"/>
                  <a:pt x="3359734" y="5084797"/>
                </a:cubicBezTo>
                <a:cubicBezTo>
                  <a:pt x="3360612" y="5081517"/>
                  <a:pt x="3360612" y="5081517"/>
                  <a:pt x="3360612" y="5081517"/>
                </a:cubicBezTo>
                <a:close/>
                <a:moveTo>
                  <a:pt x="3200777" y="5049024"/>
                </a:moveTo>
                <a:lnTo>
                  <a:pt x="3203804" y="5050048"/>
                </a:lnTo>
                <a:cubicBezTo>
                  <a:pt x="3203804" y="5050048"/>
                  <a:pt x="3203804" y="5050048"/>
                  <a:pt x="3200523" y="5049169"/>
                </a:cubicBezTo>
                <a:close/>
                <a:moveTo>
                  <a:pt x="3219693" y="5047769"/>
                </a:moveTo>
                <a:cubicBezTo>
                  <a:pt x="3221616" y="5047130"/>
                  <a:pt x="3223933" y="5047092"/>
                  <a:pt x="3228523" y="5049640"/>
                </a:cubicBezTo>
                <a:cubicBezTo>
                  <a:pt x="3227645" y="5052921"/>
                  <a:pt x="3227645" y="5052921"/>
                  <a:pt x="3230924" y="5053799"/>
                </a:cubicBezTo>
                <a:cubicBezTo>
                  <a:pt x="3234205" y="5054678"/>
                  <a:pt x="3234205" y="5054678"/>
                  <a:pt x="3234205" y="5054678"/>
                </a:cubicBezTo>
                <a:cubicBezTo>
                  <a:pt x="3233325" y="5057959"/>
                  <a:pt x="3233325" y="5057959"/>
                  <a:pt x="3236606" y="5058838"/>
                </a:cubicBezTo>
                <a:cubicBezTo>
                  <a:pt x="3236606" y="5058838"/>
                  <a:pt x="3236606" y="5058838"/>
                  <a:pt x="3239886" y="5059716"/>
                </a:cubicBezTo>
                <a:cubicBezTo>
                  <a:pt x="3240766" y="5056436"/>
                  <a:pt x="3237485" y="5055556"/>
                  <a:pt x="3240766" y="5056436"/>
                </a:cubicBezTo>
                <a:cubicBezTo>
                  <a:pt x="3250605" y="5059072"/>
                  <a:pt x="3259569" y="5064990"/>
                  <a:pt x="3267886" y="5060188"/>
                </a:cubicBezTo>
                <a:cubicBezTo>
                  <a:pt x="3263727" y="5062589"/>
                  <a:pt x="3263727" y="5062589"/>
                  <a:pt x="3267006" y="5063467"/>
                </a:cubicBezTo>
                <a:cubicBezTo>
                  <a:pt x="3269409" y="5067627"/>
                  <a:pt x="3273569" y="5065226"/>
                  <a:pt x="3273569" y="5065226"/>
                </a:cubicBezTo>
                <a:cubicBezTo>
                  <a:pt x="3273569" y="5065226"/>
                  <a:pt x="3273569" y="5065226"/>
                  <a:pt x="3276848" y="5066104"/>
                </a:cubicBezTo>
                <a:cubicBezTo>
                  <a:pt x="3284930" y="5075301"/>
                  <a:pt x="3297408" y="5068098"/>
                  <a:pt x="3308771" y="5078174"/>
                </a:cubicBezTo>
                <a:cubicBezTo>
                  <a:pt x="3309651" y="5074894"/>
                  <a:pt x="3309651" y="5074894"/>
                  <a:pt x="3309651" y="5074894"/>
                </a:cubicBezTo>
                <a:cubicBezTo>
                  <a:pt x="3308771" y="5078174"/>
                  <a:pt x="3312052" y="5079053"/>
                  <a:pt x="3312052" y="5079053"/>
                </a:cubicBezTo>
                <a:cubicBezTo>
                  <a:pt x="3315333" y="5079933"/>
                  <a:pt x="3315333" y="5079933"/>
                  <a:pt x="3316211" y="5076651"/>
                </a:cubicBezTo>
                <a:cubicBezTo>
                  <a:pt x="3326051" y="5079288"/>
                  <a:pt x="3335893" y="5081925"/>
                  <a:pt x="3335893" y="5081925"/>
                </a:cubicBezTo>
                <a:cubicBezTo>
                  <a:pt x="3345734" y="5084562"/>
                  <a:pt x="3330211" y="5076888"/>
                  <a:pt x="3346612" y="5081283"/>
                </a:cubicBezTo>
                <a:cubicBezTo>
                  <a:pt x="3342454" y="5083684"/>
                  <a:pt x="3344855" y="5087843"/>
                  <a:pt x="3349015" y="5085441"/>
                </a:cubicBezTo>
                <a:cubicBezTo>
                  <a:pt x="3353173" y="5083040"/>
                  <a:pt x="3337650" y="5075365"/>
                  <a:pt x="3354053" y="5079760"/>
                </a:cubicBezTo>
                <a:cubicBezTo>
                  <a:pt x="3354053" y="5079760"/>
                  <a:pt x="3354053" y="5079760"/>
                  <a:pt x="3353173" y="5083040"/>
                </a:cubicBezTo>
                <a:cubicBezTo>
                  <a:pt x="3353173" y="5083040"/>
                  <a:pt x="3353173" y="5083040"/>
                  <a:pt x="3356453" y="5083919"/>
                </a:cubicBezTo>
                <a:cubicBezTo>
                  <a:pt x="3356453" y="5083919"/>
                  <a:pt x="3359734" y="5084797"/>
                  <a:pt x="3359734" y="5084797"/>
                </a:cubicBezTo>
                <a:cubicBezTo>
                  <a:pt x="3363013" y="5085677"/>
                  <a:pt x="3363013" y="5085677"/>
                  <a:pt x="3363013" y="5085677"/>
                </a:cubicBezTo>
                <a:cubicBezTo>
                  <a:pt x="3366295" y="5086556"/>
                  <a:pt x="3366295" y="5086556"/>
                  <a:pt x="3366295" y="5086556"/>
                </a:cubicBezTo>
                <a:cubicBezTo>
                  <a:pt x="3365415" y="5089835"/>
                  <a:pt x="3368696" y="5090715"/>
                  <a:pt x="3371975" y="5091594"/>
                </a:cubicBezTo>
                <a:cubicBezTo>
                  <a:pt x="3372854" y="5088314"/>
                  <a:pt x="3376135" y="5089193"/>
                  <a:pt x="3379415" y="5090071"/>
                </a:cubicBezTo>
                <a:cubicBezTo>
                  <a:pt x="3381816" y="5094231"/>
                  <a:pt x="3391657" y="5096868"/>
                  <a:pt x="3398218" y="5098625"/>
                </a:cubicBezTo>
                <a:cubicBezTo>
                  <a:pt x="3371975" y="5091594"/>
                  <a:pt x="3362135" y="5088957"/>
                  <a:pt x="3338294" y="5086085"/>
                </a:cubicBezTo>
                <a:cubicBezTo>
                  <a:pt x="3339815" y="5093525"/>
                  <a:pt x="3325815" y="5093289"/>
                  <a:pt x="3309415" y="5088893"/>
                </a:cubicBezTo>
                <a:cubicBezTo>
                  <a:pt x="3293014" y="5084499"/>
                  <a:pt x="3276613" y="5080105"/>
                  <a:pt x="3275734" y="5083385"/>
                </a:cubicBezTo>
                <a:cubicBezTo>
                  <a:pt x="3258454" y="5082271"/>
                  <a:pt x="3237249" y="5069557"/>
                  <a:pt x="3221727" y="5061883"/>
                </a:cubicBezTo>
                <a:cubicBezTo>
                  <a:pt x="3225009" y="5062762"/>
                  <a:pt x="3225009" y="5062762"/>
                  <a:pt x="3225887" y="5059480"/>
                </a:cubicBezTo>
                <a:cubicBezTo>
                  <a:pt x="3225887" y="5059480"/>
                  <a:pt x="3222606" y="5058602"/>
                  <a:pt x="3222606" y="5058602"/>
                </a:cubicBezTo>
                <a:cubicBezTo>
                  <a:pt x="3210364" y="5051805"/>
                  <a:pt x="3210364" y="5051805"/>
                  <a:pt x="3210364" y="5051805"/>
                </a:cubicBezTo>
                <a:cubicBezTo>
                  <a:pt x="3207083" y="5050927"/>
                  <a:pt x="3207083" y="5050927"/>
                  <a:pt x="3207083" y="5050927"/>
                </a:cubicBezTo>
                <a:lnTo>
                  <a:pt x="3207921" y="5047800"/>
                </a:lnTo>
                <a:lnTo>
                  <a:pt x="3213235" y="5049498"/>
                </a:lnTo>
                <a:cubicBezTo>
                  <a:pt x="3216244" y="5049646"/>
                  <a:pt x="3217771" y="5048407"/>
                  <a:pt x="3219693" y="5047769"/>
                </a:cubicBezTo>
                <a:close/>
                <a:moveTo>
                  <a:pt x="3204682" y="5046768"/>
                </a:moveTo>
                <a:cubicBezTo>
                  <a:pt x="3204682" y="5046768"/>
                  <a:pt x="3204682" y="5046768"/>
                  <a:pt x="3207964" y="5047647"/>
                </a:cubicBezTo>
                <a:lnTo>
                  <a:pt x="3207921" y="5047800"/>
                </a:lnTo>
                <a:close/>
                <a:moveTo>
                  <a:pt x="1727225" y="5030520"/>
                </a:moveTo>
                <a:lnTo>
                  <a:pt x="1725536" y="5030881"/>
                </a:lnTo>
                <a:lnTo>
                  <a:pt x="1727974" y="5034027"/>
                </a:lnTo>
                <a:close/>
                <a:moveTo>
                  <a:pt x="4899046" y="4955822"/>
                </a:moveTo>
                <a:cubicBezTo>
                  <a:pt x="4899046" y="4955822"/>
                  <a:pt x="4902327" y="4956701"/>
                  <a:pt x="4902327" y="4956701"/>
                </a:cubicBezTo>
                <a:cubicBezTo>
                  <a:pt x="4902327" y="4956701"/>
                  <a:pt x="4901447" y="4959982"/>
                  <a:pt x="4898167" y="4959102"/>
                </a:cubicBezTo>
                <a:cubicBezTo>
                  <a:pt x="4899046" y="4955822"/>
                  <a:pt x="4899046" y="4955822"/>
                  <a:pt x="4899046" y="4955822"/>
                </a:cubicBezTo>
                <a:close/>
                <a:moveTo>
                  <a:pt x="4909765" y="4955178"/>
                </a:moveTo>
                <a:lnTo>
                  <a:pt x="4908886" y="4958459"/>
                </a:lnTo>
                <a:cubicBezTo>
                  <a:pt x="4905607" y="4957581"/>
                  <a:pt x="4905607" y="4957581"/>
                  <a:pt x="4904727" y="4960860"/>
                </a:cubicBezTo>
                <a:close/>
                <a:moveTo>
                  <a:pt x="4886804" y="4949025"/>
                </a:moveTo>
                <a:cubicBezTo>
                  <a:pt x="4885925" y="4952305"/>
                  <a:pt x="4885925" y="4952305"/>
                  <a:pt x="4885925" y="4952305"/>
                </a:cubicBezTo>
                <a:cubicBezTo>
                  <a:pt x="4880887" y="4957988"/>
                  <a:pt x="4880887" y="4957988"/>
                  <a:pt x="4882645" y="4951427"/>
                </a:cubicBezTo>
                <a:cubicBezTo>
                  <a:pt x="4886804" y="4949025"/>
                  <a:pt x="4886804" y="4949025"/>
                  <a:pt x="4886804" y="4949025"/>
                </a:cubicBezTo>
                <a:close/>
                <a:moveTo>
                  <a:pt x="1904088" y="4943893"/>
                </a:moveTo>
                <a:lnTo>
                  <a:pt x="1909757" y="4947566"/>
                </a:lnTo>
                <a:cubicBezTo>
                  <a:pt x="1909757" y="4947566"/>
                  <a:pt x="1909757" y="4947566"/>
                  <a:pt x="1905087" y="4948563"/>
                </a:cubicBezTo>
                <a:close/>
                <a:moveTo>
                  <a:pt x="4977467" y="4879455"/>
                </a:moveTo>
                <a:lnTo>
                  <a:pt x="4858971" y="4948076"/>
                </a:lnTo>
                <a:cubicBezTo>
                  <a:pt x="4794519" y="4983128"/>
                  <a:pt x="4728689" y="5015573"/>
                  <a:pt x="4660094" y="5042804"/>
                </a:cubicBezTo>
                <a:cubicBezTo>
                  <a:pt x="4588740" y="5070496"/>
                  <a:pt x="4516871" y="5093703"/>
                  <a:pt x="4444457" y="5112467"/>
                </a:cubicBezTo>
                <a:lnTo>
                  <a:pt x="4389558" y="5124965"/>
                </a:lnTo>
                <a:lnTo>
                  <a:pt x="4383717" y="5128009"/>
                </a:lnTo>
                <a:cubicBezTo>
                  <a:pt x="4371129" y="5132548"/>
                  <a:pt x="4352545" y="5135479"/>
                  <a:pt x="4343187" y="5140882"/>
                </a:cubicBezTo>
                <a:cubicBezTo>
                  <a:pt x="4343187" y="5140882"/>
                  <a:pt x="4339907" y="5140002"/>
                  <a:pt x="4339907" y="5140002"/>
                </a:cubicBezTo>
                <a:cubicBezTo>
                  <a:pt x="4336627" y="5139123"/>
                  <a:pt x="4336627" y="5139123"/>
                  <a:pt x="4336627" y="5139123"/>
                </a:cubicBezTo>
                <a:cubicBezTo>
                  <a:pt x="4336627" y="5139123"/>
                  <a:pt x="4335748" y="5142403"/>
                  <a:pt x="4335748" y="5142403"/>
                </a:cubicBezTo>
                <a:cubicBezTo>
                  <a:pt x="4324149" y="5146327"/>
                  <a:pt x="4325027" y="5143047"/>
                  <a:pt x="4317590" y="5144570"/>
                </a:cubicBezTo>
                <a:cubicBezTo>
                  <a:pt x="4317590" y="5144570"/>
                  <a:pt x="4314308" y="5143691"/>
                  <a:pt x="4314308" y="5143691"/>
                </a:cubicBezTo>
                <a:cubicBezTo>
                  <a:pt x="4314308" y="5143691"/>
                  <a:pt x="4310149" y="5146092"/>
                  <a:pt x="4310149" y="5146092"/>
                </a:cubicBezTo>
                <a:cubicBezTo>
                  <a:pt x="4313430" y="5146971"/>
                  <a:pt x="4313430" y="5146971"/>
                  <a:pt x="4313430" y="5146971"/>
                </a:cubicBezTo>
                <a:cubicBezTo>
                  <a:pt x="4294391" y="5152417"/>
                  <a:pt x="4283671" y="5153060"/>
                  <a:pt x="4271193" y="5160265"/>
                </a:cubicBezTo>
                <a:cubicBezTo>
                  <a:pt x="4272073" y="5156984"/>
                  <a:pt x="4272073" y="5156984"/>
                  <a:pt x="4272073" y="5156984"/>
                </a:cubicBezTo>
                <a:lnTo>
                  <a:pt x="4268793" y="5156105"/>
                </a:lnTo>
                <a:cubicBezTo>
                  <a:pt x="4265512" y="5155227"/>
                  <a:pt x="4264633" y="5158507"/>
                  <a:pt x="4264633" y="5158507"/>
                </a:cubicBezTo>
                <a:cubicBezTo>
                  <a:pt x="4264633" y="5158507"/>
                  <a:pt x="4264633" y="5158507"/>
                  <a:pt x="4263755" y="5161788"/>
                </a:cubicBezTo>
                <a:cubicBezTo>
                  <a:pt x="4260474" y="5160908"/>
                  <a:pt x="4260474" y="5160908"/>
                  <a:pt x="4260474" y="5160908"/>
                </a:cubicBezTo>
                <a:cubicBezTo>
                  <a:pt x="4248875" y="5164832"/>
                  <a:pt x="4246475" y="5160672"/>
                  <a:pt x="4239034" y="5162195"/>
                </a:cubicBezTo>
                <a:cubicBezTo>
                  <a:pt x="4238156" y="5165476"/>
                  <a:pt x="4241437" y="5166354"/>
                  <a:pt x="4233996" y="5167877"/>
                </a:cubicBezTo>
                <a:cubicBezTo>
                  <a:pt x="4230715" y="5166997"/>
                  <a:pt x="4229837" y="5170278"/>
                  <a:pt x="4226557" y="5169398"/>
                </a:cubicBezTo>
                <a:cubicBezTo>
                  <a:pt x="4227435" y="5166119"/>
                  <a:pt x="4227435" y="5166119"/>
                  <a:pt x="4224157" y="5165240"/>
                </a:cubicBezTo>
                <a:cubicBezTo>
                  <a:pt x="4224157" y="5165240"/>
                  <a:pt x="4220876" y="5164361"/>
                  <a:pt x="4219997" y="5167641"/>
                </a:cubicBezTo>
                <a:cubicBezTo>
                  <a:pt x="4219997" y="5167641"/>
                  <a:pt x="4216716" y="5166762"/>
                  <a:pt x="4215837" y="5170042"/>
                </a:cubicBezTo>
                <a:cubicBezTo>
                  <a:pt x="4208397" y="5171565"/>
                  <a:pt x="4177761" y="5180935"/>
                  <a:pt x="4181921" y="5178534"/>
                </a:cubicBezTo>
                <a:cubicBezTo>
                  <a:pt x="4183441" y="5185973"/>
                  <a:pt x="4194398" y="5171329"/>
                  <a:pt x="4195921" y="5178768"/>
                </a:cubicBezTo>
                <a:cubicBezTo>
                  <a:pt x="4200079" y="5176367"/>
                  <a:pt x="4204239" y="5173966"/>
                  <a:pt x="4211678" y="5172443"/>
                </a:cubicBezTo>
                <a:cubicBezTo>
                  <a:pt x="4211678" y="5172443"/>
                  <a:pt x="4211678" y="5172443"/>
                  <a:pt x="4214959" y="5173322"/>
                </a:cubicBezTo>
                <a:cubicBezTo>
                  <a:pt x="4214959" y="5173322"/>
                  <a:pt x="4218239" y="5174202"/>
                  <a:pt x="4218239" y="5174202"/>
                </a:cubicBezTo>
                <a:cubicBezTo>
                  <a:pt x="4221518" y="5175080"/>
                  <a:pt x="4225678" y="5172679"/>
                  <a:pt x="4225678" y="5172679"/>
                </a:cubicBezTo>
                <a:cubicBezTo>
                  <a:pt x="4235519" y="5175316"/>
                  <a:pt x="4241437" y="5166354"/>
                  <a:pt x="4256315" y="5163309"/>
                </a:cubicBezTo>
                <a:cubicBezTo>
                  <a:pt x="4255435" y="5166590"/>
                  <a:pt x="4258715" y="5167468"/>
                  <a:pt x="4262875" y="5165067"/>
                </a:cubicBezTo>
                <a:cubicBezTo>
                  <a:pt x="4266157" y="5165946"/>
                  <a:pt x="4266157" y="5165946"/>
                  <a:pt x="4266157" y="5165946"/>
                </a:cubicBezTo>
                <a:cubicBezTo>
                  <a:pt x="4266157" y="5165946"/>
                  <a:pt x="4269436" y="5166824"/>
                  <a:pt x="4272717" y="5167703"/>
                </a:cubicBezTo>
                <a:cubicBezTo>
                  <a:pt x="4273595" y="5164424"/>
                  <a:pt x="4276877" y="5165302"/>
                  <a:pt x="4273595" y="5164424"/>
                </a:cubicBezTo>
                <a:cubicBezTo>
                  <a:pt x="4273595" y="5164424"/>
                  <a:pt x="4274474" y="5161144"/>
                  <a:pt x="4274474" y="5161144"/>
                </a:cubicBezTo>
                <a:cubicBezTo>
                  <a:pt x="4284315" y="5163779"/>
                  <a:pt x="4282792" y="5156341"/>
                  <a:pt x="4290233" y="5154819"/>
                </a:cubicBezTo>
                <a:cubicBezTo>
                  <a:pt x="4300952" y="5154174"/>
                  <a:pt x="4308392" y="5152652"/>
                  <a:pt x="4312551" y="5150251"/>
                </a:cubicBezTo>
                <a:cubicBezTo>
                  <a:pt x="4312551" y="5150251"/>
                  <a:pt x="4315831" y="5151131"/>
                  <a:pt x="4315831" y="5151131"/>
                </a:cubicBezTo>
                <a:cubicBezTo>
                  <a:pt x="4315831" y="5151131"/>
                  <a:pt x="4315831" y="5151131"/>
                  <a:pt x="4319110" y="5152009"/>
                </a:cubicBezTo>
                <a:cubicBezTo>
                  <a:pt x="4327430" y="5147207"/>
                  <a:pt x="4327430" y="5147207"/>
                  <a:pt x="4334869" y="5145684"/>
                </a:cubicBezTo>
                <a:cubicBezTo>
                  <a:pt x="4331589" y="5144804"/>
                  <a:pt x="4331589" y="5144804"/>
                  <a:pt x="4330709" y="5148085"/>
                </a:cubicBezTo>
                <a:cubicBezTo>
                  <a:pt x="4330709" y="5148085"/>
                  <a:pt x="4330709" y="5148085"/>
                  <a:pt x="4333989" y="5148964"/>
                </a:cubicBezTo>
                <a:cubicBezTo>
                  <a:pt x="4333989" y="5148964"/>
                  <a:pt x="4338149" y="5146563"/>
                  <a:pt x="4338149" y="5146563"/>
                </a:cubicBezTo>
                <a:cubicBezTo>
                  <a:pt x="4342309" y="5144162"/>
                  <a:pt x="4342309" y="5144162"/>
                  <a:pt x="4342309" y="5144162"/>
                </a:cubicBezTo>
                <a:cubicBezTo>
                  <a:pt x="4345588" y="5145042"/>
                  <a:pt x="4345588" y="5145042"/>
                  <a:pt x="4353029" y="5143519"/>
                </a:cubicBezTo>
                <a:cubicBezTo>
                  <a:pt x="4349748" y="5142639"/>
                  <a:pt x="4353907" y="5140237"/>
                  <a:pt x="4361347" y="5138715"/>
                </a:cubicBezTo>
                <a:cubicBezTo>
                  <a:pt x="4360467" y="5141996"/>
                  <a:pt x="4357187" y="5141116"/>
                  <a:pt x="4356309" y="5144397"/>
                </a:cubicBezTo>
                <a:cubicBezTo>
                  <a:pt x="4367906" y="5140474"/>
                  <a:pt x="4361347" y="5138715"/>
                  <a:pt x="4368785" y="5137194"/>
                </a:cubicBezTo>
                <a:cubicBezTo>
                  <a:pt x="4379505" y="5136549"/>
                  <a:pt x="4372066" y="5138072"/>
                  <a:pt x="4387825" y="5131747"/>
                </a:cubicBezTo>
                <a:cubicBezTo>
                  <a:pt x="4390225" y="5135906"/>
                  <a:pt x="4386065" y="5138307"/>
                  <a:pt x="4385187" y="5141588"/>
                </a:cubicBezTo>
                <a:cubicBezTo>
                  <a:pt x="4393506" y="5136784"/>
                  <a:pt x="4397665" y="5134383"/>
                  <a:pt x="4401825" y="5131982"/>
                </a:cubicBezTo>
                <a:cubicBezTo>
                  <a:pt x="4400945" y="5135263"/>
                  <a:pt x="4400945" y="5135263"/>
                  <a:pt x="4400945" y="5135263"/>
                </a:cubicBezTo>
                <a:cubicBezTo>
                  <a:pt x="4400945" y="5135263"/>
                  <a:pt x="4400945" y="5135263"/>
                  <a:pt x="4404225" y="5136142"/>
                </a:cubicBezTo>
                <a:cubicBezTo>
                  <a:pt x="4404225" y="5136142"/>
                  <a:pt x="4405105" y="5132862"/>
                  <a:pt x="4408385" y="5133740"/>
                </a:cubicBezTo>
                <a:cubicBezTo>
                  <a:pt x="4412543" y="5131339"/>
                  <a:pt x="4419984" y="5129816"/>
                  <a:pt x="4420862" y="5126537"/>
                </a:cubicBezTo>
                <a:cubicBezTo>
                  <a:pt x="4420862" y="5126537"/>
                  <a:pt x="4425022" y="5124136"/>
                  <a:pt x="4428303" y="5125014"/>
                </a:cubicBezTo>
                <a:cubicBezTo>
                  <a:pt x="4428303" y="5125014"/>
                  <a:pt x="4428303" y="5125014"/>
                  <a:pt x="4432461" y="5122611"/>
                </a:cubicBezTo>
                <a:cubicBezTo>
                  <a:pt x="4432461" y="5122611"/>
                  <a:pt x="4432461" y="5122611"/>
                  <a:pt x="4429181" y="5121733"/>
                </a:cubicBezTo>
                <a:cubicBezTo>
                  <a:pt x="4429181" y="5121733"/>
                  <a:pt x="4429181" y="5121733"/>
                  <a:pt x="4425901" y="5120854"/>
                </a:cubicBezTo>
                <a:cubicBezTo>
                  <a:pt x="4438378" y="5113651"/>
                  <a:pt x="4449097" y="5113006"/>
                  <a:pt x="4456537" y="5111486"/>
                </a:cubicBezTo>
                <a:cubicBezTo>
                  <a:pt x="4455658" y="5114765"/>
                  <a:pt x="4451499" y="5117167"/>
                  <a:pt x="4450621" y="5120446"/>
                </a:cubicBezTo>
                <a:cubicBezTo>
                  <a:pt x="4469658" y="5115001"/>
                  <a:pt x="4488695" y="5109553"/>
                  <a:pt x="4475575" y="5106039"/>
                </a:cubicBezTo>
                <a:cubicBezTo>
                  <a:pt x="4493735" y="5103872"/>
                  <a:pt x="4493735" y="5103872"/>
                  <a:pt x="4506211" y="5096669"/>
                </a:cubicBezTo>
                <a:cubicBezTo>
                  <a:pt x="4506211" y="5096669"/>
                  <a:pt x="4505333" y="5099949"/>
                  <a:pt x="4502053" y="5099070"/>
                </a:cubicBezTo>
                <a:cubicBezTo>
                  <a:pt x="4502053" y="5099070"/>
                  <a:pt x="4501174" y="5102350"/>
                  <a:pt x="4501174" y="5102350"/>
                </a:cubicBezTo>
                <a:cubicBezTo>
                  <a:pt x="4497015" y="5104753"/>
                  <a:pt x="4500295" y="5105631"/>
                  <a:pt x="4500295" y="5105631"/>
                </a:cubicBezTo>
                <a:cubicBezTo>
                  <a:pt x="4503575" y="5106509"/>
                  <a:pt x="4503575" y="5106509"/>
                  <a:pt x="4507735" y="5104109"/>
                </a:cubicBezTo>
                <a:cubicBezTo>
                  <a:pt x="4506857" y="5107388"/>
                  <a:pt x="4506857" y="5107388"/>
                  <a:pt x="4506857" y="5107388"/>
                </a:cubicBezTo>
                <a:cubicBezTo>
                  <a:pt x="4503575" y="5106509"/>
                  <a:pt x="4502697" y="5109791"/>
                  <a:pt x="4502697" y="5109791"/>
                </a:cubicBezTo>
                <a:cubicBezTo>
                  <a:pt x="4499417" y="5108911"/>
                  <a:pt x="4499417" y="5108911"/>
                  <a:pt x="4499417" y="5108911"/>
                </a:cubicBezTo>
                <a:cubicBezTo>
                  <a:pt x="4499417" y="5108911"/>
                  <a:pt x="4495258" y="5111312"/>
                  <a:pt x="4495258" y="5111312"/>
                </a:cubicBezTo>
                <a:cubicBezTo>
                  <a:pt x="4495258" y="5111312"/>
                  <a:pt x="4491098" y="5113713"/>
                  <a:pt x="4491098" y="5113713"/>
                </a:cubicBezTo>
                <a:cubicBezTo>
                  <a:pt x="4448861" y="5127007"/>
                  <a:pt x="4410786" y="5137900"/>
                  <a:pt x="4368551" y="5151193"/>
                </a:cubicBezTo>
                <a:cubicBezTo>
                  <a:pt x="4365269" y="5150314"/>
                  <a:pt x="4365269" y="5150314"/>
                  <a:pt x="4365269" y="5150314"/>
                </a:cubicBezTo>
                <a:cubicBezTo>
                  <a:pt x="4361990" y="5149436"/>
                  <a:pt x="4361112" y="5152715"/>
                  <a:pt x="4361112" y="5152715"/>
                </a:cubicBezTo>
                <a:cubicBezTo>
                  <a:pt x="4348633" y="5159921"/>
                  <a:pt x="4349512" y="5156639"/>
                  <a:pt x="4337913" y="5160563"/>
                </a:cubicBezTo>
                <a:cubicBezTo>
                  <a:pt x="4334634" y="5159684"/>
                  <a:pt x="4331353" y="5158804"/>
                  <a:pt x="4327194" y="5161207"/>
                </a:cubicBezTo>
                <a:cubicBezTo>
                  <a:pt x="4323913" y="5160327"/>
                  <a:pt x="4323035" y="5163608"/>
                  <a:pt x="4323035" y="5163608"/>
                </a:cubicBezTo>
                <a:cubicBezTo>
                  <a:pt x="4311437" y="5167532"/>
                  <a:pt x="4300716" y="5168175"/>
                  <a:pt x="4295678" y="5173857"/>
                </a:cubicBezTo>
                <a:cubicBezTo>
                  <a:pt x="4295678" y="5173857"/>
                  <a:pt x="4291519" y="5176258"/>
                  <a:pt x="4291519" y="5176258"/>
                </a:cubicBezTo>
                <a:cubicBezTo>
                  <a:pt x="4288238" y="5175378"/>
                  <a:pt x="4284959" y="5174500"/>
                  <a:pt x="4281679" y="5173621"/>
                </a:cubicBezTo>
                <a:cubicBezTo>
                  <a:pt x="4280799" y="5176901"/>
                  <a:pt x="4262641" y="5179066"/>
                  <a:pt x="4254323" y="5183870"/>
                </a:cubicBezTo>
                <a:cubicBezTo>
                  <a:pt x="4254323" y="5183870"/>
                  <a:pt x="4251042" y="5182990"/>
                  <a:pt x="4250163" y="5186271"/>
                </a:cubicBezTo>
                <a:cubicBezTo>
                  <a:pt x="4246882" y="5185391"/>
                  <a:pt x="4246882" y="5185391"/>
                  <a:pt x="4246882" y="5185391"/>
                </a:cubicBezTo>
                <a:cubicBezTo>
                  <a:pt x="4213843" y="5190603"/>
                  <a:pt x="4177525" y="5194934"/>
                  <a:pt x="4143607" y="5203426"/>
                </a:cubicBezTo>
                <a:cubicBezTo>
                  <a:pt x="4140328" y="5202547"/>
                  <a:pt x="4136170" y="5204948"/>
                  <a:pt x="4132010" y="5207349"/>
                </a:cubicBezTo>
                <a:cubicBezTo>
                  <a:pt x="4128729" y="5206471"/>
                  <a:pt x="4125449" y="5205591"/>
                  <a:pt x="4122169" y="5204713"/>
                </a:cubicBezTo>
                <a:cubicBezTo>
                  <a:pt x="4125449" y="5205591"/>
                  <a:pt x="4121291" y="5207992"/>
                  <a:pt x="4120410" y="5211273"/>
                </a:cubicBezTo>
                <a:cubicBezTo>
                  <a:pt x="4117131" y="5210395"/>
                  <a:pt x="4112971" y="5212796"/>
                  <a:pt x="4112971" y="5212796"/>
                </a:cubicBezTo>
                <a:cubicBezTo>
                  <a:pt x="4094811" y="5214961"/>
                  <a:pt x="4077531" y="5213847"/>
                  <a:pt x="4062652" y="5216892"/>
                </a:cubicBezTo>
                <a:cubicBezTo>
                  <a:pt x="4062652" y="5216892"/>
                  <a:pt x="4059373" y="5216012"/>
                  <a:pt x="4059373" y="5216012"/>
                </a:cubicBezTo>
                <a:cubicBezTo>
                  <a:pt x="4056092" y="5215134"/>
                  <a:pt x="4056092" y="5215134"/>
                  <a:pt x="4052812" y="5214255"/>
                </a:cubicBezTo>
                <a:cubicBezTo>
                  <a:pt x="4051933" y="5217535"/>
                  <a:pt x="4051933" y="5217535"/>
                  <a:pt x="4051933" y="5217535"/>
                </a:cubicBezTo>
                <a:cubicBezTo>
                  <a:pt x="4029616" y="5222103"/>
                  <a:pt x="4010575" y="5227548"/>
                  <a:pt x="3996577" y="5227313"/>
                </a:cubicBezTo>
                <a:cubicBezTo>
                  <a:pt x="3984100" y="5234517"/>
                  <a:pt x="3952819" y="5233166"/>
                  <a:pt x="3923940" y="5235976"/>
                </a:cubicBezTo>
                <a:cubicBezTo>
                  <a:pt x="3915620" y="5240778"/>
                  <a:pt x="3891781" y="5237907"/>
                  <a:pt x="3884340" y="5239430"/>
                </a:cubicBezTo>
                <a:cubicBezTo>
                  <a:pt x="3884340" y="5239430"/>
                  <a:pt x="3881060" y="5238550"/>
                  <a:pt x="3881060" y="5238550"/>
                </a:cubicBezTo>
                <a:cubicBezTo>
                  <a:pt x="3881060" y="5238550"/>
                  <a:pt x="3877781" y="5237671"/>
                  <a:pt x="3877781" y="5237671"/>
                </a:cubicBezTo>
                <a:cubicBezTo>
                  <a:pt x="3874499" y="5236793"/>
                  <a:pt x="3874499" y="5236793"/>
                  <a:pt x="3874499" y="5236793"/>
                </a:cubicBezTo>
                <a:cubicBezTo>
                  <a:pt x="3870340" y="5239194"/>
                  <a:pt x="3870340" y="5239194"/>
                  <a:pt x="3873621" y="5240072"/>
                </a:cubicBezTo>
                <a:cubicBezTo>
                  <a:pt x="3862901" y="5240716"/>
                  <a:pt x="3869461" y="5242475"/>
                  <a:pt x="3868581" y="5245755"/>
                </a:cubicBezTo>
                <a:cubicBezTo>
                  <a:pt x="3859621" y="5239836"/>
                  <a:pt x="3856984" y="5249678"/>
                  <a:pt x="3843864" y="5246161"/>
                </a:cubicBezTo>
                <a:cubicBezTo>
                  <a:pt x="3846263" y="5250321"/>
                  <a:pt x="3836423" y="5247684"/>
                  <a:pt x="3835544" y="5250965"/>
                </a:cubicBezTo>
                <a:cubicBezTo>
                  <a:pt x="3850423" y="5247920"/>
                  <a:pt x="3874265" y="5250791"/>
                  <a:pt x="3879302" y="5245111"/>
                </a:cubicBezTo>
                <a:cubicBezTo>
                  <a:pt x="3879302" y="5245111"/>
                  <a:pt x="3882583" y="5245989"/>
                  <a:pt x="3885863" y="5246869"/>
                </a:cubicBezTo>
                <a:cubicBezTo>
                  <a:pt x="3885863" y="5246869"/>
                  <a:pt x="3889143" y="5247748"/>
                  <a:pt x="3890023" y="5244468"/>
                </a:cubicBezTo>
                <a:cubicBezTo>
                  <a:pt x="3909704" y="5249742"/>
                  <a:pt x="3928742" y="5244294"/>
                  <a:pt x="3946901" y="5242128"/>
                </a:cubicBezTo>
                <a:cubicBezTo>
                  <a:pt x="3993940" y="5237154"/>
                  <a:pt x="4040099" y="5235459"/>
                  <a:pt x="4080577" y="5228726"/>
                </a:cubicBezTo>
                <a:cubicBezTo>
                  <a:pt x="4113616" y="5223516"/>
                  <a:pt x="4163054" y="5222700"/>
                  <a:pt x="4208569" y="5210285"/>
                </a:cubicBezTo>
                <a:cubicBezTo>
                  <a:pt x="4216010" y="5208762"/>
                  <a:pt x="4221047" y="5203081"/>
                  <a:pt x="4227607" y="5204840"/>
                </a:cubicBezTo>
                <a:cubicBezTo>
                  <a:pt x="4261525" y="5196348"/>
                  <a:pt x="4293683" y="5194417"/>
                  <a:pt x="4320161" y="5187449"/>
                </a:cubicBezTo>
                <a:cubicBezTo>
                  <a:pt x="4340080" y="5178723"/>
                  <a:pt x="4328481" y="5182645"/>
                  <a:pt x="4350799" y="5178079"/>
                </a:cubicBezTo>
                <a:cubicBezTo>
                  <a:pt x="4376397" y="5174391"/>
                  <a:pt x="4399595" y="5166543"/>
                  <a:pt x="4416232" y="5156937"/>
                </a:cubicBezTo>
                <a:cubicBezTo>
                  <a:pt x="4449271" y="5151726"/>
                  <a:pt x="4497423" y="5129472"/>
                  <a:pt x="4528059" y="5120102"/>
                </a:cubicBezTo>
                <a:cubicBezTo>
                  <a:pt x="4539658" y="5116178"/>
                  <a:pt x="4537257" y="5112018"/>
                  <a:pt x="4548856" y="5108094"/>
                </a:cubicBezTo>
                <a:cubicBezTo>
                  <a:pt x="4550379" y="5115535"/>
                  <a:pt x="4570295" y="5106807"/>
                  <a:pt x="4582773" y="5099604"/>
                </a:cubicBezTo>
                <a:cubicBezTo>
                  <a:pt x="4582773" y="5099604"/>
                  <a:pt x="4583652" y="5096324"/>
                  <a:pt x="4587811" y="5093923"/>
                </a:cubicBezTo>
                <a:cubicBezTo>
                  <a:pt x="4600289" y="5086718"/>
                  <a:pt x="4625008" y="5086310"/>
                  <a:pt x="4642524" y="5073425"/>
                </a:cubicBezTo>
                <a:cubicBezTo>
                  <a:pt x="4646684" y="5071024"/>
                  <a:pt x="4644283" y="5066864"/>
                  <a:pt x="4652601" y="5062062"/>
                </a:cubicBezTo>
                <a:cubicBezTo>
                  <a:pt x="4652601" y="5062062"/>
                  <a:pt x="4662441" y="5064699"/>
                  <a:pt x="4667481" y="5059017"/>
                </a:cubicBezTo>
                <a:cubicBezTo>
                  <a:pt x="4710595" y="5042443"/>
                  <a:pt x="4761384" y="5010346"/>
                  <a:pt x="4798817" y="4988734"/>
                </a:cubicBezTo>
                <a:cubicBezTo>
                  <a:pt x="4815454" y="4979129"/>
                  <a:pt x="4835371" y="4970403"/>
                  <a:pt x="4856167" y="4958396"/>
                </a:cubicBezTo>
                <a:cubicBezTo>
                  <a:pt x="4864486" y="4953593"/>
                  <a:pt x="4874561" y="4942231"/>
                  <a:pt x="4882880" y="4937426"/>
                </a:cubicBezTo>
                <a:cubicBezTo>
                  <a:pt x="4882880" y="4937426"/>
                  <a:pt x="4894479" y="4933504"/>
                  <a:pt x="4894479" y="4933504"/>
                </a:cubicBezTo>
                <a:cubicBezTo>
                  <a:pt x="4902797" y="4928700"/>
                  <a:pt x="4903677" y="4925420"/>
                  <a:pt x="4907835" y="4923019"/>
                </a:cubicBezTo>
                <a:cubicBezTo>
                  <a:pt x="4911115" y="4923898"/>
                  <a:pt x="4911115" y="4923898"/>
                  <a:pt x="4911115" y="4923898"/>
                </a:cubicBezTo>
                <a:cubicBezTo>
                  <a:pt x="4908479" y="4933738"/>
                  <a:pt x="4891198" y="4932624"/>
                  <a:pt x="4896879" y="4937664"/>
                </a:cubicBezTo>
                <a:cubicBezTo>
                  <a:pt x="4896879" y="4937664"/>
                  <a:pt x="4896879" y="4937664"/>
                  <a:pt x="4893599" y="4936784"/>
                </a:cubicBezTo>
                <a:cubicBezTo>
                  <a:pt x="4888561" y="4942464"/>
                  <a:pt x="4888561" y="4942464"/>
                  <a:pt x="4888561" y="4942464"/>
                </a:cubicBezTo>
                <a:cubicBezTo>
                  <a:pt x="4888561" y="4942464"/>
                  <a:pt x="4887682" y="4945746"/>
                  <a:pt x="4887682" y="4945746"/>
                </a:cubicBezTo>
                <a:cubicBezTo>
                  <a:pt x="4887682" y="4945746"/>
                  <a:pt x="4884403" y="4944867"/>
                  <a:pt x="4883523" y="4948147"/>
                </a:cubicBezTo>
                <a:cubicBezTo>
                  <a:pt x="4883523" y="4948147"/>
                  <a:pt x="4882645" y="4951427"/>
                  <a:pt x="4882645" y="4951427"/>
                </a:cubicBezTo>
                <a:cubicBezTo>
                  <a:pt x="4870167" y="4958630"/>
                  <a:pt x="4873447" y="4959510"/>
                  <a:pt x="4860969" y="4966714"/>
                </a:cubicBezTo>
                <a:cubicBezTo>
                  <a:pt x="4860969" y="4966714"/>
                  <a:pt x="4856811" y="4969115"/>
                  <a:pt x="4856811" y="4969115"/>
                </a:cubicBezTo>
                <a:cubicBezTo>
                  <a:pt x="4856811" y="4969115"/>
                  <a:pt x="4856811" y="4969115"/>
                  <a:pt x="4855931" y="4972396"/>
                </a:cubicBezTo>
                <a:cubicBezTo>
                  <a:pt x="4855931" y="4972396"/>
                  <a:pt x="4852651" y="4971516"/>
                  <a:pt x="4852651" y="4971516"/>
                </a:cubicBezTo>
                <a:cubicBezTo>
                  <a:pt x="4845213" y="4973039"/>
                  <a:pt x="4859447" y="4959275"/>
                  <a:pt x="4850250" y="4967358"/>
                </a:cubicBezTo>
                <a:cubicBezTo>
                  <a:pt x="4846091" y="4969759"/>
                  <a:pt x="4848491" y="4973919"/>
                  <a:pt x="4842575" y="4982879"/>
                </a:cubicBezTo>
                <a:cubicBezTo>
                  <a:pt x="4831855" y="4983523"/>
                  <a:pt x="4830097" y="4990084"/>
                  <a:pt x="4810180" y="4998810"/>
                </a:cubicBezTo>
                <a:cubicBezTo>
                  <a:pt x="4811059" y="4995529"/>
                  <a:pt x="4811059" y="4995529"/>
                  <a:pt x="4811059" y="4995529"/>
                </a:cubicBezTo>
                <a:cubicBezTo>
                  <a:pt x="4806900" y="4997932"/>
                  <a:pt x="4806900" y="4997932"/>
                  <a:pt x="4806900" y="4997932"/>
                </a:cubicBezTo>
                <a:cubicBezTo>
                  <a:pt x="4800339" y="4996174"/>
                  <a:pt x="4811937" y="4992250"/>
                  <a:pt x="4812817" y="4988970"/>
                </a:cubicBezTo>
                <a:cubicBezTo>
                  <a:pt x="4801219" y="4992893"/>
                  <a:pt x="4800339" y="4996174"/>
                  <a:pt x="4798581" y="5002734"/>
                </a:cubicBezTo>
                <a:cubicBezTo>
                  <a:pt x="4795301" y="5001856"/>
                  <a:pt x="4795301" y="5001856"/>
                  <a:pt x="4791141" y="5004257"/>
                </a:cubicBezTo>
                <a:cubicBezTo>
                  <a:pt x="4787862" y="5003379"/>
                  <a:pt x="4786983" y="5006658"/>
                  <a:pt x="4786983" y="5006658"/>
                </a:cubicBezTo>
                <a:cubicBezTo>
                  <a:pt x="4789383" y="5010818"/>
                  <a:pt x="4789383" y="5010818"/>
                  <a:pt x="4789383" y="5010818"/>
                </a:cubicBezTo>
                <a:cubicBezTo>
                  <a:pt x="4775384" y="5010582"/>
                  <a:pt x="4783467" y="5019780"/>
                  <a:pt x="4764429" y="5025225"/>
                </a:cubicBezTo>
                <a:cubicBezTo>
                  <a:pt x="4760269" y="5027626"/>
                  <a:pt x="4760269" y="5027626"/>
                  <a:pt x="4760269" y="5027626"/>
                </a:cubicBezTo>
                <a:cubicBezTo>
                  <a:pt x="4760269" y="5027626"/>
                  <a:pt x="4759391" y="5030907"/>
                  <a:pt x="4759391" y="5030907"/>
                </a:cubicBezTo>
                <a:cubicBezTo>
                  <a:pt x="4726995" y="5046837"/>
                  <a:pt x="4702041" y="5061246"/>
                  <a:pt x="4680365" y="5076532"/>
                </a:cubicBezTo>
                <a:cubicBezTo>
                  <a:pt x="4681245" y="5073251"/>
                  <a:pt x="4668123" y="5069736"/>
                  <a:pt x="4669645" y="5077175"/>
                </a:cubicBezTo>
                <a:cubicBezTo>
                  <a:pt x="4677086" y="5075654"/>
                  <a:pt x="4672047" y="5081335"/>
                  <a:pt x="4664607" y="5082858"/>
                </a:cubicBezTo>
                <a:cubicBezTo>
                  <a:pt x="4648849" y="5089182"/>
                  <a:pt x="4623894" y="5103591"/>
                  <a:pt x="4596538" y="5113840"/>
                </a:cubicBezTo>
                <a:cubicBezTo>
                  <a:pt x="4572461" y="5124967"/>
                  <a:pt x="4545105" y="5135216"/>
                  <a:pt x="4525187" y="5143943"/>
                </a:cubicBezTo>
                <a:cubicBezTo>
                  <a:pt x="4529347" y="5141541"/>
                  <a:pt x="4515347" y="5141307"/>
                  <a:pt x="4514467" y="5144586"/>
                </a:cubicBezTo>
                <a:cubicBezTo>
                  <a:pt x="4521908" y="5143064"/>
                  <a:pt x="4521029" y="5146344"/>
                  <a:pt x="4516869" y="5148745"/>
                </a:cubicBezTo>
                <a:cubicBezTo>
                  <a:pt x="4510309" y="5146988"/>
                  <a:pt x="4490391" y="5155714"/>
                  <a:pt x="4474633" y="5162039"/>
                </a:cubicBezTo>
                <a:cubicBezTo>
                  <a:pt x="4458876" y="5168364"/>
                  <a:pt x="4446398" y="5175569"/>
                  <a:pt x="4447277" y="5172288"/>
                </a:cubicBezTo>
                <a:cubicBezTo>
                  <a:pt x="4430639" y="5181894"/>
                  <a:pt x="4415760" y="5184937"/>
                  <a:pt x="4400883" y="5187983"/>
                </a:cubicBezTo>
                <a:cubicBezTo>
                  <a:pt x="4381843" y="5193428"/>
                  <a:pt x="4363683" y="5195595"/>
                  <a:pt x="4339608" y="5206722"/>
                </a:cubicBezTo>
                <a:cubicBezTo>
                  <a:pt x="4339608" y="5206722"/>
                  <a:pt x="4336327" y="5205844"/>
                  <a:pt x="4333047" y="5204965"/>
                </a:cubicBezTo>
                <a:cubicBezTo>
                  <a:pt x="4326252" y="5217207"/>
                  <a:pt x="4280971" y="5215622"/>
                  <a:pt x="4265213" y="5221947"/>
                </a:cubicBezTo>
                <a:cubicBezTo>
                  <a:pt x="4261055" y="5224349"/>
                  <a:pt x="4264334" y="5225227"/>
                  <a:pt x="4256895" y="5226749"/>
                </a:cubicBezTo>
                <a:cubicBezTo>
                  <a:pt x="4245297" y="5230673"/>
                  <a:pt x="4235455" y="5228037"/>
                  <a:pt x="4223857" y="5231960"/>
                </a:cubicBezTo>
                <a:cubicBezTo>
                  <a:pt x="4216417" y="5233481"/>
                  <a:pt x="4212257" y="5235884"/>
                  <a:pt x="4203941" y="5240686"/>
                </a:cubicBezTo>
                <a:cubicBezTo>
                  <a:pt x="4181621" y="5245253"/>
                  <a:pt x="4150341" y="5243904"/>
                  <a:pt x="4124741" y="5247592"/>
                </a:cubicBezTo>
                <a:cubicBezTo>
                  <a:pt x="4094985" y="5253681"/>
                  <a:pt x="4052106" y="5256255"/>
                  <a:pt x="4019067" y="5261465"/>
                </a:cubicBezTo>
                <a:cubicBezTo>
                  <a:pt x="4008347" y="5262109"/>
                  <a:pt x="3996749" y="5266033"/>
                  <a:pt x="3989310" y="5267556"/>
                </a:cubicBezTo>
                <a:cubicBezTo>
                  <a:pt x="3989310" y="5267556"/>
                  <a:pt x="3993469" y="5265155"/>
                  <a:pt x="3993469" y="5265155"/>
                </a:cubicBezTo>
                <a:cubicBezTo>
                  <a:pt x="3979469" y="5264919"/>
                  <a:pt x="3964589" y="5267964"/>
                  <a:pt x="3953870" y="5268607"/>
                </a:cubicBezTo>
                <a:cubicBezTo>
                  <a:pt x="3950590" y="5267728"/>
                  <a:pt x="3944029" y="5265970"/>
                  <a:pt x="3944029" y="5265970"/>
                </a:cubicBezTo>
                <a:cubicBezTo>
                  <a:pt x="3908589" y="5267022"/>
                  <a:pt x="3862430" y="5268717"/>
                  <a:pt x="3830272" y="5270646"/>
                </a:cubicBezTo>
                <a:cubicBezTo>
                  <a:pt x="3830272" y="5270646"/>
                  <a:pt x="3830272" y="5270646"/>
                  <a:pt x="3831150" y="5267367"/>
                </a:cubicBezTo>
                <a:cubicBezTo>
                  <a:pt x="3831150" y="5267367"/>
                  <a:pt x="3827869" y="5266488"/>
                  <a:pt x="3827869" y="5266488"/>
                </a:cubicBezTo>
                <a:cubicBezTo>
                  <a:pt x="3827869" y="5266488"/>
                  <a:pt x="3823711" y="5268887"/>
                  <a:pt x="3823711" y="5268887"/>
                </a:cubicBezTo>
                <a:cubicBezTo>
                  <a:pt x="3812990" y="5269532"/>
                  <a:pt x="3776029" y="5263143"/>
                  <a:pt x="3784991" y="5269060"/>
                </a:cubicBezTo>
                <a:cubicBezTo>
                  <a:pt x="3781710" y="5268182"/>
                  <a:pt x="3781710" y="5268182"/>
                  <a:pt x="3781710" y="5268182"/>
                </a:cubicBezTo>
                <a:cubicBezTo>
                  <a:pt x="3778430" y="5267303"/>
                  <a:pt x="3778430" y="5267303"/>
                  <a:pt x="3778430" y="5267303"/>
                </a:cubicBezTo>
                <a:cubicBezTo>
                  <a:pt x="3777550" y="5270583"/>
                  <a:pt x="3777550" y="5270583"/>
                  <a:pt x="3777550" y="5270583"/>
                </a:cubicBezTo>
                <a:cubicBezTo>
                  <a:pt x="3780831" y="5271463"/>
                  <a:pt x="3780831" y="5271463"/>
                  <a:pt x="3780831" y="5271463"/>
                </a:cubicBezTo>
                <a:cubicBezTo>
                  <a:pt x="3782354" y="5278902"/>
                  <a:pt x="3770111" y="5272106"/>
                  <a:pt x="3766831" y="5271227"/>
                </a:cubicBezTo>
                <a:cubicBezTo>
                  <a:pt x="3772513" y="5276265"/>
                  <a:pt x="3751074" y="5277552"/>
                  <a:pt x="3765073" y="5277788"/>
                </a:cubicBezTo>
                <a:cubicBezTo>
                  <a:pt x="3765953" y="5274507"/>
                  <a:pt x="3775793" y="5277144"/>
                  <a:pt x="3775793" y="5277144"/>
                </a:cubicBezTo>
                <a:cubicBezTo>
                  <a:pt x="3768353" y="5278666"/>
                  <a:pt x="3771633" y="5279545"/>
                  <a:pt x="3774913" y="5280425"/>
                </a:cubicBezTo>
                <a:cubicBezTo>
                  <a:pt x="3779953" y="5274743"/>
                  <a:pt x="3793073" y="5278258"/>
                  <a:pt x="3804672" y="5274334"/>
                </a:cubicBezTo>
                <a:cubicBezTo>
                  <a:pt x="3804672" y="5274334"/>
                  <a:pt x="3807952" y="5275214"/>
                  <a:pt x="3811233" y="5276093"/>
                </a:cubicBezTo>
                <a:cubicBezTo>
                  <a:pt x="3811233" y="5276093"/>
                  <a:pt x="3814512" y="5276971"/>
                  <a:pt x="3814512" y="5276971"/>
                </a:cubicBezTo>
                <a:cubicBezTo>
                  <a:pt x="3817794" y="5277850"/>
                  <a:pt x="3817794" y="5277850"/>
                  <a:pt x="3817794" y="5277850"/>
                </a:cubicBezTo>
                <a:cubicBezTo>
                  <a:pt x="3817794" y="5277850"/>
                  <a:pt x="3818672" y="5274569"/>
                  <a:pt x="3818672" y="5274569"/>
                </a:cubicBezTo>
                <a:cubicBezTo>
                  <a:pt x="3821953" y="5275449"/>
                  <a:pt x="3821953" y="5275449"/>
                  <a:pt x="3825233" y="5276327"/>
                </a:cubicBezTo>
                <a:cubicBezTo>
                  <a:pt x="3827635" y="5280487"/>
                  <a:pt x="3821074" y="5278728"/>
                  <a:pt x="3820193" y="5282009"/>
                </a:cubicBezTo>
                <a:cubicBezTo>
                  <a:pt x="3826754" y="5283768"/>
                  <a:pt x="3827635" y="5280487"/>
                  <a:pt x="3830914" y="5281367"/>
                </a:cubicBezTo>
                <a:cubicBezTo>
                  <a:pt x="3830914" y="5281367"/>
                  <a:pt x="3830914" y="5281367"/>
                  <a:pt x="3834196" y="5282245"/>
                </a:cubicBezTo>
                <a:cubicBezTo>
                  <a:pt x="3834196" y="5282245"/>
                  <a:pt x="3837475" y="5283124"/>
                  <a:pt x="3837475" y="5283124"/>
                </a:cubicBezTo>
                <a:cubicBezTo>
                  <a:pt x="3840755" y="5284004"/>
                  <a:pt x="3840755" y="5284004"/>
                  <a:pt x="3840755" y="5284004"/>
                </a:cubicBezTo>
                <a:cubicBezTo>
                  <a:pt x="3854755" y="5284238"/>
                  <a:pt x="3854755" y="5284238"/>
                  <a:pt x="3854755" y="5284238"/>
                </a:cubicBezTo>
                <a:cubicBezTo>
                  <a:pt x="3858913" y="5281837"/>
                  <a:pt x="3858913" y="5281837"/>
                  <a:pt x="3858913" y="5281837"/>
                </a:cubicBezTo>
                <a:cubicBezTo>
                  <a:pt x="3861316" y="5285997"/>
                  <a:pt x="3862195" y="5282716"/>
                  <a:pt x="3862195" y="5282716"/>
                </a:cubicBezTo>
                <a:lnTo>
                  <a:pt x="3858913" y="5281837"/>
                </a:lnTo>
                <a:cubicBezTo>
                  <a:pt x="3880353" y="5280550"/>
                  <a:pt x="3873793" y="5278792"/>
                  <a:pt x="3894353" y="5280786"/>
                </a:cubicBezTo>
                <a:cubicBezTo>
                  <a:pt x="3897635" y="5281665"/>
                  <a:pt x="3897635" y="5281665"/>
                  <a:pt x="3900914" y="5282543"/>
                </a:cubicBezTo>
                <a:cubicBezTo>
                  <a:pt x="3905073" y="5280142"/>
                  <a:pt x="3905073" y="5280142"/>
                  <a:pt x="3901794" y="5279264"/>
                </a:cubicBezTo>
                <a:cubicBezTo>
                  <a:pt x="3911633" y="5281901"/>
                  <a:pt x="3928914" y="5283015"/>
                  <a:pt x="3933953" y="5277333"/>
                </a:cubicBezTo>
                <a:cubicBezTo>
                  <a:pt x="3926513" y="5278855"/>
                  <a:pt x="3927392" y="5275574"/>
                  <a:pt x="3934831" y="5274053"/>
                </a:cubicBezTo>
                <a:lnTo>
                  <a:pt x="3938111" y="5274932"/>
                </a:lnTo>
                <a:cubicBezTo>
                  <a:pt x="3937233" y="5278211"/>
                  <a:pt x="3937233" y="5278211"/>
                  <a:pt x="3937233" y="5278211"/>
                </a:cubicBezTo>
                <a:cubicBezTo>
                  <a:pt x="3937233" y="5278211"/>
                  <a:pt x="3937233" y="5278211"/>
                  <a:pt x="3940514" y="5279091"/>
                </a:cubicBezTo>
                <a:cubicBezTo>
                  <a:pt x="3940514" y="5279091"/>
                  <a:pt x="3940514" y="5279091"/>
                  <a:pt x="3944673" y="5276690"/>
                </a:cubicBezTo>
                <a:cubicBezTo>
                  <a:pt x="3964353" y="5281963"/>
                  <a:pt x="4019711" y="5272185"/>
                  <a:pt x="4044429" y="5271777"/>
                </a:cubicBezTo>
                <a:cubicBezTo>
                  <a:pt x="4058431" y="5272013"/>
                  <a:pt x="4060832" y="5276173"/>
                  <a:pt x="4072431" y="5272249"/>
                </a:cubicBezTo>
                <a:cubicBezTo>
                  <a:pt x="4078990" y="5274006"/>
                  <a:pt x="4084029" y="5268325"/>
                  <a:pt x="4091468" y="5266803"/>
                </a:cubicBezTo>
                <a:cubicBezTo>
                  <a:pt x="4105469" y="5267037"/>
                  <a:pt x="4115309" y="5269674"/>
                  <a:pt x="4121227" y="5260712"/>
                </a:cubicBezTo>
                <a:cubicBezTo>
                  <a:pt x="4188825" y="5257732"/>
                  <a:pt x="4267380" y="5240106"/>
                  <a:pt x="4336092" y="5219844"/>
                </a:cubicBezTo>
                <a:cubicBezTo>
                  <a:pt x="4338495" y="5224004"/>
                  <a:pt x="4338495" y="5224004"/>
                  <a:pt x="4341775" y="5224882"/>
                </a:cubicBezTo>
                <a:cubicBezTo>
                  <a:pt x="4341775" y="5224882"/>
                  <a:pt x="4338495" y="5224004"/>
                  <a:pt x="4338495" y="5224004"/>
                </a:cubicBezTo>
                <a:cubicBezTo>
                  <a:pt x="4337615" y="5227283"/>
                  <a:pt x="4337615" y="5227283"/>
                  <a:pt x="4337615" y="5227283"/>
                </a:cubicBezTo>
                <a:cubicBezTo>
                  <a:pt x="4337615" y="5227283"/>
                  <a:pt x="4340895" y="5228162"/>
                  <a:pt x="4345054" y="5225760"/>
                </a:cubicBezTo>
                <a:cubicBezTo>
                  <a:pt x="4348334" y="5226639"/>
                  <a:pt x="4347456" y="5229920"/>
                  <a:pt x="4354895" y="5228397"/>
                </a:cubicBezTo>
                <a:cubicBezTo>
                  <a:pt x="4352494" y="5224238"/>
                  <a:pt x="4356653" y="5221837"/>
                  <a:pt x="4368253" y="5217913"/>
                </a:cubicBezTo>
                <a:cubicBezTo>
                  <a:pt x="4371531" y="5218791"/>
                  <a:pt x="4371531" y="5218791"/>
                  <a:pt x="4371531" y="5218791"/>
                </a:cubicBezTo>
                <a:cubicBezTo>
                  <a:pt x="4371531" y="5218791"/>
                  <a:pt x="4372409" y="5215512"/>
                  <a:pt x="4375691" y="5216392"/>
                </a:cubicBezTo>
                <a:cubicBezTo>
                  <a:pt x="4375691" y="5216392"/>
                  <a:pt x="4378971" y="5217270"/>
                  <a:pt x="4378971" y="5217270"/>
                </a:cubicBezTo>
                <a:cubicBezTo>
                  <a:pt x="4379850" y="5213989"/>
                  <a:pt x="4379850" y="5213989"/>
                  <a:pt x="4379850" y="5213989"/>
                </a:cubicBezTo>
                <a:cubicBezTo>
                  <a:pt x="4383131" y="5214869"/>
                  <a:pt x="4383131" y="5214869"/>
                  <a:pt x="4387291" y="5212466"/>
                </a:cubicBezTo>
                <a:cubicBezTo>
                  <a:pt x="4392972" y="5217505"/>
                  <a:pt x="4406328" y="5207020"/>
                  <a:pt x="4405449" y="5210302"/>
                </a:cubicBezTo>
                <a:cubicBezTo>
                  <a:pt x="4405449" y="5210302"/>
                  <a:pt x="4404569" y="5213581"/>
                  <a:pt x="4404569" y="5213581"/>
                </a:cubicBezTo>
                <a:cubicBezTo>
                  <a:pt x="4401290" y="5212703"/>
                  <a:pt x="4400411" y="5215984"/>
                  <a:pt x="4400411" y="5215984"/>
                </a:cubicBezTo>
                <a:cubicBezTo>
                  <a:pt x="4403691" y="5216862"/>
                  <a:pt x="4404569" y="5213581"/>
                  <a:pt x="4407849" y="5214461"/>
                </a:cubicBezTo>
                <a:cubicBezTo>
                  <a:pt x="4407849" y="5214461"/>
                  <a:pt x="4412009" y="5212060"/>
                  <a:pt x="4412009" y="5212060"/>
                </a:cubicBezTo>
                <a:cubicBezTo>
                  <a:pt x="4419449" y="5210537"/>
                  <a:pt x="4426889" y="5209014"/>
                  <a:pt x="4427767" y="5205735"/>
                </a:cubicBezTo>
                <a:cubicBezTo>
                  <a:pt x="4427767" y="5205735"/>
                  <a:pt x="4427767" y="5205735"/>
                  <a:pt x="4431047" y="5206613"/>
                </a:cubicBezTo>
                <a:cubicBezTo>
                  <a:pt x="4431047" y="5206613"/>
                  <a:pt x="4434327" y="5207492"/>
                  <a:pt x="4438487" y="5205091"/>
                </a:cubicBezTo>
                <a:cubicBezTo>
                  <a:pt x="4438487" y="5205091"/>
                  <a:pt x="4439367" y="5201811"/>
                  <a:pt x="4439367" y="5201811"/>
                </a:cubicBezTo>
                <a:cubicBezTo>
                  <a:pt x="4439367" y="5201811"/>
                  <a:pt x="4436087" y="5200931"/>
                  <a:pt x="4436087" y="5200931"/>
                </a:cubicBezTo>
                <a:cubicBezTo>
                  <a:pt x="4439367" y="5201811"/>
                  <a:pt x="4442646" y="5202689"/>
                  <a:pt x="4446805" y="5200288"/>
                </a:cubicBezTo>
                <a:cubicBezTo>
                  <a:pt x="4443525" y="5199408"/>
                  <a:pt x="4444403" y="5196129"/>
                  <a:pt x="4448563" y="5193727"/>
                </a:cubicBezTo>
                <a:cubicBezTo>
                  <a:pt x="4447685" y="5197007"/>
                  <a:pt x="4451843" y="5194606"/>
                  <a:pt x="4455124" y="5195484"/>
                </a:cubicBezTo>
                <a:cubicBezTo>
                  <a:pt x="4459284" y="5193083"/>
                  <a:pt x="4459284" y="5193083"/>
                  <a:pt x="4459284" y="5193083"/>
                </a:cubicBezTo>
                <a:cubicBezTo>
                  <a:pt x="4462565" y="5193963"/>
                  <a:pt x="4462565" y="5193963"/>
                  <a:pt x="4462565" y="5193963"/>
                </a:cubicBezTo>
                <a:cubicBezTo>
                  <a:pt x="4463443" y="5190682"/>
                  <a:pt x="4463443" y="5190682"/>
                  <a:pt x="4463443" y="5190682"/>
                </a:cubicBezTo>
                <a:cubicBezTo>
                  <a:pt x="4463443" y="5190682"/>
                  <a:pt x="4463443" y="5190682"/>
                  <a:pt x="4460162" y="5189804"/>
                </a:cubicBezTo>
                <a:cubicBezTo>
                  <a:pt x="4479199" y="5184357"/>
                  <a:pt x="4498239" y="5178912"/>
                  <a:pt x="4503277" y="5173230"/>
                </a:cubicBezTo>
                <a:cubicBezTo>
                  <a:pt x="4507437" y="5170828"/>
                  <a:pt x="4507437" y="5170828"/>
                  <a:pt x="4510717" y="5171707"/>
                </a:cubicBezTo>
                <a:cubicBezTo>
                  <a:pt x="4514875" y="5169306"/>
                  <a:pt x="4514875" y="5169306"/>
                  <a:pt x="4515755" y="5166027"/>
                </a:cubicBezTo>
                <a:lnTo>
                  <a:pt x="4513179" y="5165335"/>
                </a:lnTo>
                <a:lnTo>
                  <a:pt x="4525643" y="5159666"/>
                </a:lnTo>
                <a:cubicBezTo>
                  <a:pt x="4539955" y="5153613"/>
                  <a:pt x="4547709" y="5151736"/>
                  <a:pt x="4571346" y="5142247"/>
                </a:cubicBezTo>
                <a:cubicBezTo>
                  <a:pt x="4580543" y="5134165"/>
                  <a:pt x="4584703" y="5131765"/>
                  <a:pt x="4585583" y="5128483"/>
                </a:cubicBezTo>
                <a:cubicBezTo>
                  <a:pt x="4588862" y="5129361"/>
                  <a:pt x="4587983" y="5132643"/>
                  <a:pt x="4595423" y="5131120"/>
                </a:cubicBezTo>
                <a:cubicBezTo>
                  <a:pt x="4597181" y="5124559"/>
                  <a:pt x="4607021" y="5127196"/>
                  <a:pt x="4619500" y="5119991"/>
                </a:cubicBezTo>
                <a:cubicBezTo>
                  <a:pt x="4631977" y="5112788"/>
                  <a:pt x="4613817" y="5114955"/>
                  <a:pt x="4629575" y="5108629"/>
                </a:cubicBezTo>
                <a:cubicBezTo>
                  <a:pt x="4620378" y="5116712"/>
                  <a:pt x="4636137" y="5110387"/>
                  <a:pt x="4648615" y="5103183"/>
                </a:cubicBezTo>
                <a:cubicBezTo>
                  <a:pt x="4647735" y="5106463"/>
                  <a:pt x="4647735" y="5106463"/>
                  <a:pt x="4647735" y="5106463"/>
                </a:cubicBezTo>
                <a:cubicBezTo>
                  <a:pt x="4643575" y="5108864"/>
                  <a:pt x="4639415" y="5111267"/>
                  <a:pt x="4642697" y="5112145"/>
                </a:cubicBezTo>
                <a:cubicBezTo>
                  <a:pt x="4642697" y="5112145"/>
                  <a:pt x="4645978" y="5113024"/>
                  <a:pt x="4650136" y="5110622"/>
                </a:cubicBezTo>
                <a:cubicBezTo>
                  <a:pt x="4654296" y="5108221"/>
                  <a:pt x="4654296" y="5108221"/>
                  <a:pt x="4654296" y="5108221"/>
                </a:cubicBezTo>
                <a:cubicBezTo>
                  <a:pt x="4653417" y="5111501"/>
                  <a:pt x="4642697" y="5112145"/>
                  <a:pt x="4645099" y="5116303"/>
                </a:cubicBezTo>
                <a:cubicBezTo>
                  <a:pt x="4653417" y="5111501"/>
                  <a:pt x="4660855" y="5109978"/>
                  <a:pt x="4661735" y="5106698"/>
                </a:cubicBezTo>
                <a:cubicBezTo>
                  <a:pt x="4662613" y="5103419"/>
                  <a:pt x="4662613" y="5103419"/>
                  <a:pt x="4665893" y="5104297"/>
                </a:cubicBezTo>
                <a:cubicBezTo>
                  <a:pt x="4670053" y="5101897"/>
                  <a:pt x="4674211" y="5099495"/>
                  <a:pt x="4675091" y="5096214"/>
                </a:cubicBezTo>
                <a:cubicBezTo>
                  <a:pt x="4675091" y="5096214"/>
                  <a:pt x="4671812" y="5095335"/>
                  <a:pt x="4667651" y="5097736"/>
                </a:cubicBezTo>
                <a:cubicBezTo>
                  <a:pt x="4664372" y="5096858"/>
                  <a:pt x="4664372" y="5096858"/>
                  <a:pt x="4664372" y="5096858"/>
                </a:cubicBezTo>
                <a:cubicBezTo>
                  <a:pt x="4669409" y="5091176"/>
                  <a:pt x="4662850" y="5089418"/>
                  <a:pt x="4676849" y="5089653"/>
                </a:cubicBezTo>
                <a:cubicBezTo>
                  <a:pt x="4674449" y="5085494"/>
                  <a:pt x="4666129" y="5090297"/>
                  <a:pt x="4662850" y="5089418"/>
                </a:cubicBezTo>
                <a:cubicBezTo>
                  <a:pt x="4678607" y="5083093"/>
                  <a:pt x="4681009" y="5087252"/>
                  <a:pt x="4689327" y="5082449"/>
                </a:cubicBezTo>
                <a:cubicBezTo>
                  <a:pt x="4688447" y="5085731"/>
                  <a:pt x="4685169" y="5084851"/>
                  <a:pt x="4685169" y="5084851"/>
                </a:cubicBezTo>
                <a:cubicBezTo>
                  <a:pt x="4681009" y="5087252"/>
                  <a:pt x="4681009" y="5087252"/>
                  <a:pt x="4683411" y="5091411"/>
                </a:cubicBezTo>
                <a:cubicBezTo>
                  <a:pt x="4683411" y="5091411"/>
                  <a:pt x="4687569" y="5089010"/>
                  <a:pt x="4691728" y="5086609"/>
                </a:cubicBezTo>
                <a:cubicBezTo>
                  <a:pt x="4686690" y="5092290"/>
                  <a:pt x="4689971" y="5093170"/>
                  <a:pt x="4695008" y="5087488"/>
                </a:cubicBezTo>
                <a:cubicBezTo>
                  <a:pt x="4698289" y="5088368"/>
                  <a:pt x="4698289" y="5088368"/>
                  <a:pt x="4698289" y="5088368"/>
                </a:cubicBezTo>
                <a:cubicBezTo>
                  <a:pt x="4694130" y="5090767"/>
                  <a:pt x="4697411" y="5091647"/>
                  <a:pt x="4697411" y="5091647"/>
                </a:cubicBezTo>
                <a:cubicBezTo>
                  <a:pt x="4701569" y="5089246"/>
                  <a:pt x="4701569" y="5089246"/>
                  <a:pt x="4702449" y="5085965"/>
                </a:cubicBezTo>
                <a:cubicBezTo>
                  <a:pt x="4705727" y="5086845"/>
                  <a:pt x="4705727" y="5086845"/>
                  <a:pt x="4706607" y="5083564"/>
                </a:cubicBezTo>
                <a:cubicBezTo>
                  <a:pt x="4714047" y="5082041"/>
                  <a:pt x="4714047" y="5082041"/>
                  <a:pt x="4721486" y="5080520"/>
                </a:cubicBezTo>
                <a:cubicBezTo>
                  <a:pt x="4717327" y="5082921"/>
                  <a:pt x="4717327" y="5082921"/>
                  <a:pt x="4717327" y="5082921"/>
                </a:cubicBezTo>
                <a:cubicBezTo>
                  <a:pt x="4713168" y="5085322"/>
                  <a:pt x="4712289" y="5088602"/>
                  <a:pt x="4712289" y="5088602"/>
                </a:cubicBezTo>
                <a:cubicBezTo>
                  <a:pt x="4715569" y="5089482"/>
                  <a:pt x="4719729" y="5087079"/>
                  <a:pt x="4723887" y="5084678"/>
                </a:cubicBezTo>
                <a:cubicBezTo>
                  <a:pt x="4728047" y="5082277"/>
                  <a:pt x="4728047" y="5082277"/>
                  <a:pt x="4728047" y="5082277"/>
                </a:cubicBezTo>
                <a:cubicBezTo>
                  <a:pt x="4732207" y="5079876"/>
                  <a:pt x="4732207" y="5079876"/>
                  <a:pt x="4732207" y="5079876"/>
                </a:cubicBezTo>
                <a:cubicBezTo>
                  <a:pt x="4736365" y="5077475"/>
                  <a:pt x="4737245" y="5074195"/>
                  <a:pt x="4733963" y="5073315"/>
                </a:cubicBezTo>
                <a:cubicBezTo>
                  <a:pt x="4733963" y="5073315"/>
                  <a:pt x="4730684" y="5072437"/>
                  <a:pt x="4726524" y="5074837"/>
                </a:cubicBezTo>
                <a:cubicBezTo>
                  <a:pt x="4726524" y="5074837"/>
                  <a:pt x="4726524" y="5074837"/>
                  <a:pt x="4725646" y="5078117"/>
                </a:cubicBezTo>
                <a:cubicBezTo>
                  <a:pt x="4721486" y="5080520"/>
                  <a:pt x="4721486" y="5080520"/>
                  <a:pt x="4721486" y="5080520"/>
                </a:cubicBezTo>
                <a:cubicBezTo>
                  <a:pt x="4732441" y="5065875"/>
                  <a:pt x="4719083" y="5076361"/>
                  <a:pt x="4707487" y="5080284"/>
                </a:cubicBezTo>
                <a:cubicBezTo>
                  <a:pt x="4711646" y="5077883"/>
                  <a:pt x="4711646" y="5077883"/>
                  <a:pt x="4711646" y="5077883"/>
                </a:cubicBezTo>
                <a:cubicBezTo>
                  <a:pt x="4711646" y="5077883"/>
                  <a:pt x="4708366" y="5077005"/>
                  <a:pt x="4708366" y="5077005"/>
                </a:cubicBezTo>
                <a:cubicBezTo>
                  <a:pt x="4708366" y="5077005"/>
                  <a:pt x="4708366" y="5077005"/>
                  <a:pt x="4705085" y="5076124"/>
                </a:cubicBezTo>
                <a:cubicBezTo>
                  <a:pt x="4704207" y="5079404"/>
                  <a:pt x="4704207" y="5079404"/>
                  <a:pt x="4704207" y="5079404"/>
                </a:cubicBezTo>
                <a:cubicBezTo>
                  <a:pt x="4700046" y="5081805"/>
                  <a:pt x="4700046" y="5081805"/>
                  <a:pt x="4700046" y="5081805"/>
                </a:cubicBezTo>
                <a:cubicBezTo>
                  <a:pt x="4700927" y="5078525"/>
                  <a:pt x="4700927" y="5078525"/>
                  <a:pt x="4700927" y="5078525"/>
                </a:cubicBezTo>
                <a:cubicBezTo>
                  <a:pt x="4700927" y="5078525"/>
                  <a:pt x="4697647" y="5077647"/>
                  <a:pt x="4696767" y="5080927"/>
                </a:cubicBezTo>
                <a:cubicBezTo>
                  <a:pt x="4693487" y="5080048"/>
                  <a:pt x="4693487" y="5080048"/>
                  <a:pt x="4693487" y="5080048"/>
                </a:cubicBezTo>
                <a:cubicBezTo>
                  <a:pt x="4699404" y="5071086"/>
                  <a:pt x="4706843" y="5069563"/>
                  <a:pt x="4722601" y="5063239"/>
                </a:cubicBezTo>
                <a:cubicBezTo>
                  <a:pt x="4721722" y="5066520"/>
                  <a:pt x="4721722" y="5066520"/>
                  <a:pt x="4721722" y="5066520"/>
                </a:cubicBezTo>
                <a:cubicBezTo>
                  <a:pt x="4720843" y="5069800"/>
                  <a:pt x="4720843" y="5069800"/>
                  <a:pt x="4720843" y="5069800"/>
                </a:cubicBezTo>
                <a:cubicBezTo>
                  <a:pt x="4725003" y="5067398"/>
                  <a:pt x="4725003" y="5067398"/>
                  <a:pt x="4725003" y="5067398"/>
                </a:cubicBezTo>
                <a:cubicBezTo>
                  <a:pt x="4725882" y="5064117"/>
                  <a:pt x="4725882" y="5064117"/>
                  <a:pt x="4725882" y="5064117"/>
                </a:cubicBezTo>
                <a:cubicBezTo>
                  <a:pt x="4730041" y="5061716"/>
                  <a:pt x="4730041" y="5061716"/>
                  <a:pt x="4730041" y="5061716"/>
                </a:cubicBezTo>
                <a:cubicBezTo>
                  <a:pt x="4734199" y="5059315"/>
                  <a:pt x="4736599" y="5063474"/>
                  <a:pt x="4744919" y="5058672"/>
                </a:cubicBezTo>
                <a:cubicBezTo>
                  <a:pt x="4748200" y="5059551"/>
                  <a:pt x="4748200" y="5059551"/>
                  <a:pt x="4748200" y="5059551"/>
                </a:cubicBezTo>
                <a:cubicBezTo>
                  <a:pt x="4749079" y="5056269"/>
                  <a:pt x="4752360" y="5057149"/>
                  <a:pt x="4752360" y="5057149"/>
                </a:cubicBezTo>
                <a:cubicBezTo>
                  <a:pt x="4753238" y="5053868"/>
                  <a:pt x="4753238" y="5053868"/>
                  <a:pt x="4753238" y="5053868"/>
                </a:cubicBezTo>
                <a:cubicBezTo>
                  <a:pt x="4749957" y="5052989"/>
                  <a:pt x="4749957" y="5052989"/>
                  <a:pt x="4749957" y="5052989"/>
                </a:cubicBezTo>
                <a:cubicBezTo>
                  <a:pt x="4758275" y="5048187"/>
                  <a:pt x="4768117" y="5050824"/>
                  <a:pt x="4769875" y="5044264"/>
                </a:cubicBezTo>
                <a:cubicBezTo>
                  <a:pt x="4769875" y="5044264"/>
                  <a:pt x="4770754" y="5040984"/>
                  <a:pt x="4774035" y="5041862"/>
                </a:cubicBezTo>
                <a:cubicBezTo>
                  <a:pt x="4774035" y="5041862"/>
                  <a:pt x="4774913" y="5038581"/>
                  <a:pt x="4774913" y="5038581"/>
                </a:cubicBezTo>
                <a:cubicBezTo>
                  <a:pt x="4771632" y="5037702"/>
                  <a:pt x="4771632" y="5037702"/>
                  <a:pt x="4771632" y="5037702"/>
                </a:cubicBezTo>
                <a:cubicBezTo>
                  <a:pt x="4798110" y="5030735"/>
                  <a:pt x="4779951" y="5032901"/>
                  <a:pt x="4781709" y="5026339"/>
                </a:cubicBezTo>
                <a:cubicBezTo>
                  <a:pt x="4795709" y="5026575"/>
                  <a:pt x="4820663" y="5012167"/>
                  <a:pt x="4841460" y="5000161"/>
                </a:cubicBezTo>
                <a:cubicBezTo>
                  <a:pt x="4839059" y="4996002"/>
                  <a:pt x="4839059" y="4996002"/>
                  <a:pt x="4839059" y="4996002"/>
                </a:cubicBezTo>
                <a:cubicBezTo>
                  <a:pt x="4842339" y="4996880"/>
                  <a:pt x="4842339" y="4996880"/>
                  <a:pt x="4842339" y="4996880"/>
                </a:cubicBezTo>
                <a:cubicBezTo>
                  <a:pt x="4842339" y="4996880"/>
                  <a:pt x="4845620" y="4997758"/>
                  <a:pt x="4846498" y="4994478"/>
                </a:cubicBezTo>
                <a:cubicBezTo>
                  <a:pt x="4846498" y="4994478"/>
                  <a:pt x="4843217" y="4993600"/>
                  <a:pt x="4843217" y="4993600"/>
                </a:cubicBezTo>
                <a:cubicBezTo>
                  <a:pt x="4855696" y="4986396"/>
                  <a:pt x="4870575" y="4983351"/>
                  <a:pt x="4878014" y="4981829"/>
                </a:cubicBezTo>
                <a:cubicBezTo>
                  <a:pt x="4875613" y="4977670"/>
                  <a:pt x="4872333" y="4976790"/>
                  <a:pt x="4876493" y="4974389"/>
                </a:cubicBezTo>
                <a:cubicBezTo>
                  <a:pt x="4879771" y="4975267"/>
                  <a:pt x="4879771" y="4975267"/>
                  <a:pt x="4883931" y="4972867"/>
                </a:cubicBezTo>
                <a:cubicBezTo>
                  <a:pt x="4881530" y="4968708"/>
                  <a:pt x="4884811" y="4969587"/>
                  <a:pt x="4892249" y="4968064"/>
                </a:cubicBezTo>
                <a:cubicBezTo>
                  <a:pt x="4892249" y="4968064"/>
                  <a:pt x="4892249" y="4968064"/>
                  <a:pt x="4891370" y="4971344"/>
                </a:cubicBezTo>
                <a:cubicBezTo>
                  <a:pt x="4891370" y="4971344"/>
                  <a:pt x="4891370" y="4971344"/>
                  <a:pt x="4894652" y="4972224"/>
                </a:cubicBezTo>
                <a:cubicBezTo>
                  <a:pt x="4895530" y="4968943"/>
                  <a:pt x="4898811" y="4969821"/>
                  <a:pt x="4899690" y="4966541"/>
                </a:cubicBezTo>
                <a:cubicBezTo>
                  <a:pt x="4899690" y="4966541"/>
                  <a:pt x="4900568" y="4963262"/>
                  <a:pt x="4900568" y="4963262"/>
                </a:cubicBezTo>
                <a:cubicBezTo>
                  <a:pt x="4907129" y="4965019"/>
                  <a:pt x="4934721" y="4940771"/>
                  <a:pt x="4926402" y="4945573"/>
                </a:cubicBezTo>
                <a:cubicBezTo>
                  <a:pt x="4923765" y="4955414"/>
                  <a:pt x="4914160" y="4938777"/>
                  <a:pt x="4914803" y="4949497"/>
                </a:cubicBezTo>
                <a:lnTo>
                  <a:pt x="4909765" y="4955178"/>
                </a:lnTo>
                <a:cubicBezTo>
                  <a:pt x="4910645" y="4951898"/>
                  <a:pt x="4906487" y="4954299"/>
                  <a:pt x="4906487" y="4954299"/>
                </a:cubicBezTo>
                <a:cubicBezTo>
                  <a:pt x="4902327" y="4956701"/>
                  <a:pt x="4902327" y="4956701"/>
                  <a:pt x="4902327" y="4956701"/>
                </a:cubicBezTo>
                <a:cubicBezTo>
                  <a:pt x="4903205" y="4953421"/>
                  <a:pt x="4903205" y="4953421"/>
                  <a:pt x="4903205" y="4953421"/>
                </a:cubicBezTo>
                <a:cubicBezTo>
                  <a:pt x="4906487" y="4954299"/>
                  <a:pt x="4907365" y="4951018"/>
                  <a:pt x="4907365" y="4951018"/>
                </a:cubicBezTo>
                <a:cubicBezTo>
                  <a:pt x="4907365" y="4951018"/>
                  <a:pt x="4904084" y="4950140"/>
                  <a:pt x="4904084" y="4950140"/>
                </a:cubicBezTo>
                <a:cubicBezTo>
                  <a:pt x="4899924" y="4952541"/>
                  <a:pt x="4899924" y="4952541"/>
                  <a:pt x="4899924" y="4952541"/>
                </a:cubicBezTo>
                <a:cubicBezTo>
                  <a:pt x="4895766" y="4954944"/>
                  <a:pt x="4895766" y="4954944"/>
                  <a:pt x="4895766" y="4954944"/>
                </a:cubicBezTo>
                <a:cubicBezTo>
                  <a:pt x="4895766" y="4954944"/>
                  <a:pt x="4900803" y="4949262"/>
                  <a:pt x="4900803" y="4949262"/>
                </a:cubicBezTo>
                <a:cubicBezTo>
                  <a:pt x="4904963" y="4946860"/>
                  <a:pt x="4904963" y="4946860"/>
                  <a:pt x="4904963" y="4946860"/>
                </a:cubicBezTo>
                <a:cubicBezTo>
                  <a:pt x="4909122" y="4944459"/>
                  <a:pt x="4909122" y="4944459"/>
                  <a:pt x="4909122" y="4944459"/>
                </a:cubicBezTo>
                <a:cubicBezTo>
                  <a:pt x="4912403" y="4945337"/>
                  <a:pt x="4916563" y="4942936"/>
                  <a:pt x="4917441" y="4939655"/>
                </a:cubicBezTo>
                <a:cubicBezTo>
                  <a:pt x="4918319" y="4936376"/>
                  <a:pt x="4915039" y="4935497"/>
                  <a:pt x="4910881" y="4937898"/>
                </a:cubicBezTo>
                <a:cubicBezTo>
                  <a:pt x="4910881" y="4937898"/>
                  <a:pt x="4910881" y="4937898"/>
                  <a:pt x="4907601" y="4937018"/>
                </a:cubicBezTo>
                <a:cubicBezTo>
                  <a:pt x="4920077" y="4929815"/>
                  <a:pt x="4917441" y="4939655"/>
                  <a:pt x="4927516" y="4928292"/>
                </a:cubicBezTo>
                <a:cubicBezTo>
                  <a:pt x="4926638" y="4931573"/>
                  <a:pt x="4926638" y="4931573"/>
                  <a:pt x="4926638" y="4931573"/>
                </a:cubicBezTo>
                <a:cubicBezTo>
                  <a:pt x="4926638" y="4931573"/>
                  <a:pt x="4926638" y="4931573"/>
                  <a:pt x="4929919" y="4932452"/>
                </a:cubicBezTo>
                <a:cubicBezTo>
                  <a:pt x="4930798" y="4929172"/>
                  <a:pt x="4930798" y="4929172"/>
                  <a:pt x="4930798" y="4929172"/>
                </a:cubicBezTo>
                <a:cubicBezTo>
                  <a:pt x="4930798" y="4929172"/>
                  <a:pt x="4931676" y="4925891"/>
                  <a:pt x="4931676" y="4925891"/>
                </a:cubicBezTo>
                <a:cubicBezTo>
                  <a:pt x="4935835" y="4923490"/>
                  <a:pt x="4935835" y="4923490"/>
                  <a:pt x="4935835" y="4923490"/>
                </a:cubicBezTo>
                <a:cubicBezTo>
                  <a:pt x="4939994" y="4921088"/>
                  <a:pt x="4939994" y="4921088"/>
                  <a:pt x="4948314" y="4916286"/>
                </a:cubicBezTo>
                <a:cubicBezTo>
                  <a:pt x="4943511" y="4907968"/>
                  <a:pt x="4963429" y="4899242"/>
                  <a:pt x="4953587" y="4896605"/>
                </a:cubicBezTo>
                <a:cubicBezTo>
                  <a:pt x="4951829" y="4903166"/>
                  <a:pt x="4944389" y="4904687"/>
                  <a:pt x="4939352" y="4910369"/>
                </a:cubicBezTo>
                <a:cubicBezTo>
                  <a:pt x="4944389" y="4904687"/>
                  <a:pt x="4944389" y="4904687"/>
                  <a:pt x="4941109" y="4903808"/>
                </a:cubicBezTo>
                <a:cubicBezTo>
                  <a:pt x="4941109" y="4903808"/>
                  <a:pt x="4941109" y="4903808"/>
                  <a:pt x="4937829" y="4902930"/>
                </a:cubicBezTo>
                <a:cubicBezTo>
                  <a:pt x="4949427" y="4899006"/>
                  <a:pt x="4961905" y="4891801"/>
                  <a:pt x="4971103" y="4883717"/>
                </a:cubicBezTo>
                <a:close/>
                <a:moveTo>
                  <a:pt x="6068122" y="4864900"/>
                </a:moveTo>
                <a:lnTo>
                  <a:pt x="6068152" y="4865039"/>
                </a:lnTo>
                <a:cubicBezTo>
                  <a:pt x="6068152" y="4865039"/>
                  <a:pt x="6068152" y="4865039"/>
                  <a:pt x="6064479" y="4870708"/>
                </a:cubicBezTo>
                <a:close/>
                <a:moveTo>
                  <a:pt x="2849427" y="4863682"/>
                </a:moveTo>
                <a:cubicBezTo>
                  <a:pt x="2849427" y="4863682"/>
                  <a:pt x="2849427" y="4863682"/>
                  <a:pt x="2852706" y="4864560"/>
                </a:cubicBezTo>
                <a:cubicBezTo>
                  <a:pt x="2855987" y="4865440"/>
                  <a:pt x="2855987" y="4865440"/>
                  <a:pt x="2855987" y="4865440"/>
                </a:cubicBezTo>
                <a:lnTo>
                  <a:pt x="2856769" y="4866135"/>
                </a:lnTo>
                <a:close/>
                <a:moveTo>
                  <a:pt x="5007247" y="4862211"/>
                </a:moveTo>
                <a:lnTo>
                  <a:pt x="4996249" y="4868580"/>
                </a:lnTo>
                <a:lnTo>
                  <a:pt x="4999337" y="4870189"/>
                </a:lnTo>
                <a:close/>
                <a:moveTo>
                  <a:pt x="6130068" y="4856695"/>
                </a:moveTo>
                <a:lnTo>
                  <a:pt x="6126199" y="4862407"/>
                </a:lnTo>
                <a:cubicBezTo>
                  <a:pt x="6130871" y="4861409"/>
                  <a:pt x="6129873" y="4856736"/>
                  <a:pt x="6129873" y="4856736"/>
                </a:cubicBezTo>
                <a:close/>
                <a:moveTo>
                  <a:pt x="5030417" y="4849127"/>
                </a:moveTo>
                <a:lnTo>
                  <a:pt x="5029817" y="4849140"/>
                </a:lnTo>
                <a:lnTo>
                  <a:pt x="5010221" y="4860487"/>
                </a:lnTo>
                <a:lnTo>
                  <a:pt x="5015974" y="4860584"/>
                </a:lnTo>
                <a:cubicBezTo>
                  <a:pt x="5023533" y="4852061"/>
                  <a:pt x="5031451" y="4849569"/>
                  <a:pt x="5030417" y="4849127"/>
                </a:cubicBezTo>
                <a:close/>
                <a:moveTo>
                  <a:pt x="5071263" y="4820079"/>
                </a:moveTo>
                <a:lnTo>
                  <a:pt x="5059909" y="4829301"/>
                </a:lnTo>
                <a:lnTo>
                  <a:pt x="5059325" y="4830010"/>
                </a:lnTo>
                <a:lnTo>
                  <a:pt x="5057793" y="4831019"/>
                </a:lnTo>
                <a:lnTo>
                  <a:pt x="5055235" y="4833097"/>
                </a:lnTo>
                <a:lnTo>
                  <a:pt x="5055445" y="4833420"/>
                </a:lnTo>
                <a:cubicBezTo>
                  <a:pt x="5056491" y="4833207"/>
                  <a:pt x="5058665" y="4832469"/>
                  <a:pt x="5062605" y="4830888"/>
                </a:cubicBezTo>
                <a:cubicBezTo>
                  <a:pt x="5060527" y="4832090"/>
                  <a:pt x="5058227" y="4834110"/>
                  <a:pt x="5057377" y="4835640"/>
                </a:cubicBezTo>
                <a:lnTo>
                  <a:pt x="5060755" y="4837402"/>
                </a:lnTo>
                <a:lnTo>
                  <a:pt x="5060961" y="4837260"/>
                </a:lnTo>
                <a:close/>
                <a:moveTo>
                  <a:pt x="5108837" y="4789562"/>
                </a:moveTo>
                <a:lnTo>
                  <a:pt x="5093745" y="4801819"/>
                </a:lnTo>
                <a:lnTo>
                  <a:pt x="5095236" y="4800959"/>
                </a:lnTo>
                <a:cubicBezTo>
                  <a:pt x="5098515" y="4801837"/>
                  <a:pt x="5103555" y="4796156"/>
                  <a:pt x="5108593" y="4790474"/>
                </a:cubicBezTo>
                <a:close/>
                <a:moveTo>
                  <a:pt x="5127188" y="4774656"/>
                </a:moveTo>
                <a:lnTo>
                  <a:pt x="5117361" y="4782639"/>
                </a:lnTo>
                <a:lnTo>
                  <a:pt x="5121949" y="4779991"/>
                </a:lnTo>
                <a:cubicBezTo>
                  <a:pt x="5121949" y="4779991"/>
                  <a:pt x="5125229" y="4780869"/>
                  <a:pt x="5125229" y="4780869"/>
                </a:cubicBezTo>
                <a:cubicBezTo>
                  <a:pt x="5129389" y="4778468"/>
                  <a:pt x="5129389" y="4778468"/>
                  <a:pt x="5129389" y="4778468"/>
                </a:cubicBezTo>
                <a:close/>
                <a:moveTo>
                  <a:pt x="2748506" y="4741714"/>
                </a:moveTo>
                <a:lnTo>
                  <a:pt x="2753001" y="4745754"/>
                </a:lnTo>
                <a:lnTo>
                  <a:pt x="2748356" y="4742283"/>
                </a:lnTo>
                <a:close/>
                <a:moveTo>
                  <a:pt x="2738573" y="4734114"/>
                </a:moveTo>
                <a:lnTo>
                  <a:pt x="2742497" y="4737906"/>
                </a:lnTo>
                <a:lnTo>
                  <a:pt x="2748356" y="4742283"/>
                </a:lnTo>
                <a:lnTo>
                  <a:pt x="2747627" y="4744994"/>
                </a:lnTo>
                <a:cubicBezTo>
                  <a:pt x="2745226" y="4740836"/>
                  <a:pt x="2742826" y="4736676"/>
                  <a:pt x="2739545" y="4735796"/>
                </a:cubicBezTo>
                <a:close/>
                <a:moveTo>
                  <a:pt x="2733528" y="4728433"/>
                </a:moveTo>
                <a:lnTo>
                  <a:pt x="2737143" y="4731638"/>
                </a:lnTo>
                <a:lnTo>
                  <a:pt x="2738573" y="4734114"/>
                </a:lnTo>
                <a:lnTo>
                  <a:pt x="2733769" y="4729470"/>
                </a:lnTo>
                <a:close/>
                <a:moveTo>
                  <a:pt x="2725781" y="4721561"/>
                </a:moveTo>
                <a:cubicBezTo>
                  <a:pt x="2729061" y="4722440"/>
                  <a:pt x="2731462" y="4726600"/>
                  <a:pt x="2732341" y="4723320"/>
                </a:cubicBezTo>
                <a:lnTo>
                  <a:pt x="2733528" y="4728433"/>
                </a:lnTo>
                <a:lnTo>
                  <a:pt x="2731462" y="4726600"/>
                </a:lnTo>
                <a:cubicBezTo>
                  <a:pt x="2728183" y="4725721"/>
                  <a:pt x="2728183" y="4725721"/>
                  <a:pt x="2728183" y="4725721"/>
                </a:cubicBezTo>
                <a:cubicBezTo>
                  <a:pt x="2728183" y="4725721"/>
                  <a:pt x="2728183" y="4725721"/>
                  <a:pt x="2725781" y="4721561"/>
                </a:cubicBezTo>
                <a:close/>
                <a:moveTo>
                  <a:pt x="3028405" y="4669808"/>
                </a:moveTo>
                <a:lnTo>
                  <a:pt x="3030752" y="4673522"/>
                </a:lnTo>
                <a:cubicBezTo>
                  <a:pt x="3036699" y="4679422"/>
                  <a:pt x="3044989" y="4685949"/>
                  <a:pt x="3054617" y="4692835"/>
                </a:cubicBezTo>
                <a:cubicBezTo>
                  <a:pt x="3073871" y="4706605"/>
                  <a:pt x="3094562" y="4715020"/>
                  <a:pt x="3107225" y="4721282"/>
                </a:cubicBezTo>
                <a:lnTo>
                  <a:pt x="3105246" y="4719661"/>
                </a:lnTo>
                <a:lnTo>
                  <a:pt x="3057715" y="4691376"/>
                </a:lnTo>
                <a:close/>
                <a:moveTo>
                  <a:pt x="6304463" y="4668027"/>
                </a:moveTo>
                <a:lnTo>
                  <a:pt x="6302855" y="4672815"/>
                </a:lnTo>
                <a:lnTo>
                  <a:pt x="6301832" y="4672862"/>
                </a:lnTo>
                <a:cubicBezTo>
                  <a:pt x="6301708" y="4672278"/>
                  <a:pt x="6302626" y="4670861"/>
                  <a:pt x="6304463" y="4668027"/>
                </a:cubicBezTo>
                <a:close/>
                <a:moveTo>
                  <a:pt x="2673360" y="4654778"/>
                </a:moveTo>
                <a:lnTo>
                  <a:pt x="2678648" y="4660537"/>
                </a:lnTo>
                <a:lnTo>
                  <a:pt x="2678411" y="4660527"/>
                </a:lnTo>
                <a:cubicBezTo>
                  <a:pt x="2676581" y="4659157"/>
                  <a:pt x="2674561" y="4656858"/>
                  <a:pt x="2673360" y="4654778"/>
                </a:cubicBezTo>
                <a:close/>
                <a:moveTo>
                  <a:pt x="2988071" y="4640127"/>
                </a:moveTo>
                <a:lnTo>
                  <a:pt x="2993758" y="4645670"/>
                </a:lnTo>
                <a:cubicBezTo>
                  <a:pt x="2996821" y="4648286"/>
                  <a:pt x="2999603" y="4650286"/>
                  <a:pt x="3002041" y="4651387"/>
                </a:cubicBezTo>
                <a:lnTo>
                  <a:pt x="3003476" y="4651462"/>
                </a:lnTo>
                <a:close/>
                <a:moveTo>
                  <a:pt x="2964415" y="4622718"/>
                </a:moveTo>
                <a:lnTo>
                  <a:pt x="2964410" y="4622737"/>
                </a:lnTo>
                <a:lnTo>
                  <a:pt x="2964457" y="4622750"/>
                </a:lnTo>
                <a:close/>
                <a:moveTo>
                  <a:pt x="2936215" y="4620923"/>
                </a:moveTo>
                <a:cubicBezTo>
                  <a:pt x="2936215" y="4620923"/>
                  <a:pt x="2936215" y="4620923"/>
                  <a:pt x="2938890" y="4621639"/>
                </a:cubicBezTo>
                <a:lnTo>
                  <a:pt x="2938711" y="4622308"/>
                </a:lnTo>
                <a:close/>
                <a:moveTo>
                  <a:pt x="2922025" y="4586750"/>
                </a:moveTo>
                <a:lnTo>
                  <a:pt x="2919078" y="4591214"/>
                </a:lnTo>
                <a:cubicBezTo>
                  <a:pt x="2916891" y="4591346"/>
                  <a:pt x="2914215" y="4590629"/>
                  <a:pt x="2912519" y="4591609"/>
                </a:cubicBezTo>
                <a:cubicBezTo>
                  <a:pt x="2913760" y="4597683"/>
                  <a:pt x="2918395" y="4601796"/>
                  <a:pt x="2922311" y="4608585"/>
                </a:cubicBezTo>
                <a:cubicBezTo>
                  <a:pt x="2920354" y="4605190"/>
                  <a:pt x="2917677" y="4604474"/>
                  <a:pt x="2917677" y="4604474"/>
                </a:cubicBezTo>
                <a:cubicBezTo>
                  <a:pt x="2915718" y="4601078"/>
                  <a:pt x="2915718" y="4601078"/>
                  <a:pt x="2913043" y="4600361"/>
                </a:cubicBezTo>
                <a:cubicBezTo>
                  <a:pt x="2912325" y="4603039"/>
                  <a:pt x="2915001" y="4603756"/>
                  <a:pt x="2915001" y="4603756"/>
                </a:cubicBezTo>
                <a:cubicBezTo>
                  <a:pt x="2916959" y="4607152"/>
                  <a:pt x="2919635" y="4607868"/>
                  <a:pt x="2919635" y="4607868"/>
                </a:cubicBezTo>
                <a:cubicBezTo>
                  <a:pt x="2919635" y="4607868"/>
                  <a:pt x="2921593" y="4611263"/>
                  <a:pt x="2921593" y="4611263"/>
                </a:cubicBezTo>
                <a:cubicBezTo>
                  <a:pt x="2926229" y="4615376"/>
                  <a:pt x="2930863" y="4619488"/>
                  <a:pt x="2932821" y="4622883"/>
                </a:cubicBezTo>
                <a:cubicBezTo>
                  <a:pt x="2932821" y="4622883"/>
                  <a:pt x="2932821" y="4622883"/>
                  <a:pt x="2935497" y="4623599"/>
                </a:cubicBezTo>
                <a:cubicBezTo>
                  <a:pt x="2935497" y="4623599"/>
                  <a:pt x="2938172" y="4624317"/>
                  <a:pt x="2938172" y="4624317"/>
                </a:cubicBezTo>
                <a:lnTo>
                  <a:pt x="2938711" y="4622308"/>
                </a:lnTo>
                <a:lnTo>
                  <a:pt x="2941207" y="4623695"/>
                </a:lnTo>
                <a:cubicBezTo>
                  <a:pt x="2942545" y="4624054"/>
                  <a:pt x="2943884" y="4624412"/>
                  <a:pt x="2946201" y="4626469"/>
                </a:cubicBezTo>
                <a:cubicBezTo>
                  <a:pt x="2954947" y="4625941"/>
                  <a:pt x="2940326" y="4616283"/>
                  <a:pt x="2941761" y="4610927"/>
                </a:cubicBezTo>
                <a:cubicBezTo>
                  <a:pt x="2953705" y="4619869"/>
                  <a:pt x="2957099" y="4617907"/>
                  <a:pt x="2961733" y="4622018"/>
                </a:cubicBezTo>
                <a:lnTo>
                  <a:pt x="2962703" y="4621458"/>
                </a:lnTo>
                <a:lnTo>
                  <a:pt x="2948426" y="4610952"/>
                </a:lnTo>
                <a:close/>
                <a:moveTo>
                  <a:pt x="2860394" y="4530255"/>
                </a:moveTo>
                <a:lnTo>
                  <a:pt x="2873925" y="4544310"/>
                </a:lnTo>
                <a:lnTo>
                  <a:pt x="2898368" y="4565066"/>
                </a:lnTo>
                <a:close/>
                <a:moveTo>
                  <a:pt x="2850179" y="4503144"/>
                </a:moveTo>
                <a:lnTo>
                  <a:pt x="2849725" y="4504837"/>
                </a:lnTo>
                <a:lnTo>
                  <a:pt x="2856363" y="4508236"/>
                </a:lnTo>
                <a:lnTo>
                  <a:pt x="2855786" y="4507515"/>
                </a:lnTo>
                <a:lnTo>
                  <a:pt x="2857490" y="4507973"/>
                </a:lnTo>
                <a:lnTo>
                  <a:pt x="2858176" y="4509163"/>
                </a:lnTo>
                <a:lnTo>
                  <a:pt x="2862899" y="4511580"/>
                </a:lnTo>
                <a:lnTo>
                  <a:pt x="2852855" y="4503860"/>
                </a:lnTo>
                <a:lnTo>
                  <a:pt x="2855786" y="4507515"/>
                </a:lnTo>
                <a:lnTo>
                  <a:pt x="2854813" y="4507255"/>
                </a:lnTo>
                <a:cubicBezTo>
                  <a:pt x="2852855" y="4503860"/>
                  <a:pt x="2852855" y="4503860"/>
                  <a:pt x="2850179" y="4503144"/>
                </a:cubicBezTo>
                <a:close/>
                <a:moveTo>
                  <a:pt x="5450741" y="4439964"/>
                </a:moveTo>
                <a:lnTo>
                  <a:pt x="5377825" y="4530592"/>
                </a:lnTo>
                <a:cubicBezTo>
                  <a:pt x="5359841" y="4551255"/>
                  <a:pt x="5341650" y="4570690"/>
                  <a:pt x="5323869" y="4592582"/>
                </a:cubicBezTo>
                <a:cubicBezTo>
                  <a:pt x="5319577" y="4597083"/>
                  <a:pt x="5312626" y="4600767"/>
                  <a:pt x="5314677" y="4613036"/>
                </a:cubicBezTo>
                <a:cubicBezTo>
                  <a:pt x="5333076" y="4598610"/>
                  <a:pt x="5347637" y="4580097"/>
                  <a:pt x="5364167" y="4564878"/>
                </a:cubicBezTo>
                <a:lnTo>
                  <a:pt x="5370795" y="4560109"/>
                </a:lnTo>
                <a:lnTo>
                  <a:pt x="5397869" y="4523430"/>
                </a:lnTo>
                <a:close/>
                <a:moveTo>
                  <a:pt x="1643525" y="4432993"/>
                </a:moveTo>
                <a:cubicBezTo>
                  <a:pt x="1643525" y="4432993"/>
                  <a:pt x="1643525" y="4432993"/>
                  <a:pt x="1644522" y="4437664"/>
                </a:cubicBezTo>
                <a:lnTo>
                  <a:pt x="1643326" y="4435630"/>
                </a:lnTo>
                <a:close/>
                <a:moveTo>
                  <a:pt x="2776939" y="4423240"/>
                </a:moveTo>
                <a:lnTo>
                  <a:pt x="2779311" y="4426396"/>
                </a:lnTo>
                <a:lnTo>
                  <a:pt x="2778899" y="4426634"/>
                </a:lnTo>
                <a:cubicBezTo>
                  <a:pt x="2778899" y="4426634"/>
                  <a:pt x="2776223" y="4425916"/>
                  <a:pt x="2776939" y="4423240"/>
                </a:cubicBezTo>
                <a:close/>
                <a:moveTo>
                  <a:pt x="2676789" y="4299837"/>
                </a:moveTo>
                <a:lnTo>
                  <a:pt x="2665036" y="4302598"/>
                </a:lnTo>
                <a:lnTo>
                  <a:pt x="2701549" y="4351370"/>
                </a:lnTo>
                <a:cubicBezTo>
                  <a:pt x="2709383" y="4364950"/>
                  <a:pt x="2723809" y="4386038"/>
                  <a:pt x="2741629" y="4405167"/>
                </a:cubicBezTo>
                <a:cubicBezTo>
                  <a:pt x="2756055" y="4426254"/>
                  <a:pt x="2774593" y="4442703"/>
                  <a:pt x="2786537" y="4451645"/>
                </a:cubicBezTo>
                <a:cubicBezTo>
                  <a:pt x="2797048" y="4465942"/>
                  <a:pt x="2810232" y="4480958"/>
                  <a:pt x="2822178" y="4489900"/>
                </a:cubicBezTo>
                <a:cubicBezTo>
                  <a:pt x="2822178" y="4489900"/>
                  <a:pt x="2821462" y="4492576"/>
                  <a:pt x="2824137" y="4493294"/>
                </a:cubicBezTo>
                <a:cubicBezTo>
                  <a:pt x="2826095" y="4496689"/>
                  <a:pt x="2826095" y="4496689"/>
                  <a:pt x="2828771" y="4497407"/>
                </a:cubicBezTo>
                <a:lnTo>
                  <a:pt x="2839192" y="4508233"/>
                </a:lnTo>
                <a:lnTo>
                  <a:pt x="2837891" y="4500449"/>
                </a:lnTo>
                <a:lnTo>
                  <a:pt x="2829489" y="4494729"/>
                </a:lnTo>
                <a:cubicBezTo>
                  <a:pt x="2832164" y="4495445"/>
                  <a:pt x="2832164" y="4495445"/>
                  <a:pt x="2832164" y="4495445"/>
                </a:cubicBezTo>
                <a:cubicBezTo>
                  <a:pt x="2832164" y="4495445"/>
                  <a:pt x="2830206" y="4492051"/>
                  <a:pt x="2827529" y="4491333"/>
                </a:cubicBezTo>
                <a:cubicBezTo>
                  <a:pt x="2828249" y="4488655"/>
                  <a:pt x="2825572" y="4487938"/>
                  <a:pt x="2825572" y="4487938"/>
                </a:cubicBezTo>
                <a:lnTo>
                  <a:pt x="2779311" y="4426396"/>
                </a:lnTo>
                <a:lnTo>
                  <a:pt x="2782293" y="4424673"/>
                </a:lnTo>
                <a:cubicBezTo>
                  <a:pt x="2782293" y="4424673"/>
                  <a:pt x="2779616" y="4423956"/>
                  <a:pt x="2779616" y="4423956"/>
                </a:cubicBezTo>
                <a:cubicBezTo>
                  <a:pt x="2779616" y="4423956"/>
                  <a:pt x="2779616" y="4423956"/>
                  <a:pt x="2776939" y="4423240"/>
                </a:cubicBezTo>
                <a:cubicBezTo>
                  <a:pt x="2777658" y="4420560"/>
                  <a:pt x="2774981" y="4419843"/>
                  <a:pt x="2774981" y="4419843"/>
                </a:cubicBezTo>
                <a:cubicBezTo>
                  <a:pt x="2778375" y="4417882"/>
                  <a:pt x="2771783" y="4410375"/>
                  <a:pt x="2765190" y="4402868"/>
                </a:cubicBezTo>
                <a:cubicBezTo>
                  <a:pt x="2761796" y="4404828"/>
                  <a:pt x="2766430" y="4408940"/>
                  <a:pt x="2766430" y="4408940"/>
                </a:cubicBezTo>
                <a:cubicBezTo>
                  <a:pt x="2763755" y="4408224"/>
                  <a:pt x="2763755" y="4408224"/>
                  <a:pt x="2763755" y="4408224"/>
                </a:cubicBezTo>
                <a:cubicBezTo>
                  <a:pt x="2761078" y="4407507"/>
                  <a:pt x="2761078" y="4407507"/>
                  <a:pt x="2761078" y="4407507"/>
                </a:cubicBezTo>
                <a:cubicBezTo>
                  <a:pt x="2761078" y="4407507"/>
                  <a:pt x="2763037" y="4410902"/>
                  <a:pt x="2763037" y="4410902"/>
                </a:cubicBezTo>
                <a:cubicBezTo>
                  <a:pt x="2756444" y="4403395"/>
                  <a:pt x="2755728" y="4406073"/>
                  <a:pt x="2747175" y="4395170"/>
                </a:cubicBezTo>
                <a:cubicBezTo>
                  <a:pt x="2749852" y="4395886"/>
                  <a:pt x="2749852" y="4395886"/>
                  <a:pt x="2749852" y="4395886"/>
                </a:cubicBezTo>
                <a:cubicBezTo>
                  <a:pt x="2749852" y="4395886"/>
                  <a:pt x="2749852" y="4395886"/>
                  <a:pt x="2751809" y="4399282"/>
                </a:cubicBezTo>
                <a:cubicBezTo>
                  <a:pt x="2754485" y="4399999"/>
                  <a:pt x="2754485" y="4399999"/>
                  <a:pt x="2754485" y="4399999"/>
                </a:cubicBezTo>
                <a:cubicBezTo>
                  <a:pt x="2755204" y="4397321"/>
                  <a:pt x="2753245" y="4393926"/>
                  <a:pt x="2750569" y="4393208"/>
                </a:cubicBezTo>
                <a:cubicBezTo>
                  <a:pt x="2750569" y="4393208"/>
                  <a:pt x="2751287" y="4390530"/>
                  <a:pt x="2748611" y="4389814"/>
                </a:cubicBezTo>
                <a:cubicBezTo>
                  <a:pt x="2750047" y="4384457"/>
                  <a:pt x="2744172" y="4374272"/>
                  <a:pt x="2736338" y="4360691"/>
                </a:cubicBezTo>
                <a:cubicBezTo>
                  <a:pt x="2732061" y="4355240"/>
                  <a:pt x="2727118" y="4349609"/>
                  <a:pt x="2722327" y="4344738"/>
                </a:cubicBezTo>
                <a:lnTo>
                  <a:pt x="2716857" y="4339970"/>
                </a:lnTo>
                <a:lnTo>
                  <a:pt x="2703428" y="4336022"/>
                </a:lnTo>
                <a:cubicBezTo>
                  <a:pt x="2696735" y="4331964"/>
                  <a:pt x="2691607" y="4326386"/>
                  <a:pt x="2688247" y="4319673"/>
                </a:cubicBezTo>
                <a:lnTo>
                  <a:pt x="2677451" y="4300826"/>
                </a:lnTo>
                <a:close/>
                <a:moveTo>
                  <a:pt x="2337159" y="4269366"/>
                </a:moveTo>
                <a:cubicBezTo>
                  <a:pt x="2336279" y="4272646"/>
                  <a:pt x="2339560" y="4273526"/>
                  <a:pt x="2339560" y="4273526"/>
                </a:cubicBezTo>
                <a:lnTo>
                  <a:pt x="2339523" y="4273662"/>
                </a:lnTo>
                <a:close/>
                <a:moveTo>
                  <a:pt x="1526874" y="4252779"/>
                </a:moveTo>
                <a:cubicBezTo>
                  <a:pt x="1531545" y="4251780"/>
                  <a:pt x="1533542" y="4261121"/>
                  <a:pt x="1534539" y="4265793"/>
                </a:cubicBezTo>
                <a:cubicBezTo>
                  <a:pt x="1529869" y="4266791"/>
                  <a:pt x="1529869" y="4266791"/>
                  <a:pt x="1529869" y="4266791"/>
                </a:cubicBezTo>
                <a:close/>
                <a:moveTo>
                  <a:pt x="2351864" y="4227601"/>
                </a:moveTo>
                <a:lnTo>
                  <a:pt x="2354365" y="4231786"/>
                </a:lnTo>
                <a:lnTo>
                  <a:pt x="2354267" y="4231761"/>
                </a:lnTo>
                <a:cubicBezTo>
                  <a:pt x="2354267" y="4231761"/>
                  <a:pt x="2354267" y="4231761"/>
                  <a:pt x="2351864" y="4227601"/>
                </a:cubicBezTo>
                <a:close/>
                <a:moveTo>
                  <a:pt x="6397652" y="4184394"/>
                </a:moveTo>
                <a:lnTo>
                  <a:pt x="6397793" y="4184698"/>
                </a:lnTo>
                <a:cubicBezTo>
                  <a:pt x="6397247" y="4187866"/>
                  <a:pt x="6395661" y="4191868"/>
                  <a:pt x="6393825" y="4194703"/>
                </a:cubicBezTo>
                <a:close/>
                <a:moveTo>
                  <a:pt x="6495950" y="4124042"/>
                </a:moveTo>
                <a:cubicBezTo>
                  <a:pt x="6501619" y="4127714"/>
                  <a:pt x="6497945" y="4133384"/>
                  <a:pt x="6492277" y="4129712"/>
                </a:cubicBezTo>
                <a:cubicBezTo>
                  <a:pt x="6496947" y="4128713"/>
                  <a:pt x="6496947" y="4128713"/>
                  <a:pt x="6495950" y="4124042"/>
                </a:cubicBezTo>
                <a:close/>
                <a:moveTo>
                  <a:pt x="6447581" y="4072213"/>
                </a:moveTo>
                <a:lnTo>
                  <a:pt x="6446607" y="4075973"/>
                </a:lnTo>
                <a:cubicBezTo>
                  <a:pt x="6447605" y="4080645"/>
                  <a:pt x="6447605" y="4080645"/>
                  <a:pt x="6447605" y="4080645"/>
                </a:cubicBezTo>
                <a:cubicBezTo>
                  <a:pt x="6447605" y="4080645"/>
                  <a:pt x="6447605" y="4080645"/>
                  <a:pt x="6443932" y="4086313"/>
                </a:cubicBezTo>
                <a:cubicBezTo>
                  <a:pt x="6442933" y="4081643"/>
                  <a:pt x="6446607" y="4075973"/>
                  <a:pt x="6441935" y="4076971"/>
                </a:cubicBezTo>
                <a:close/>
                <a:moveTo>
                  <a:pt x="6451467" y="4062259"/>
                </a:moveTo>
                <a:lnTo>
                  <a:pt x="6448725" y="4071248"/>
                </a:lnTo>
                <a:lnTo>
                  <a:pt x="6447581" y="4072213"/>
                </a:lnTo>
                <a:lnTo>
                  <a:pt x="6449283" y="4065635"/>
                </a:lnTo>
                <a:close/>
                <a:moveTo>
                  <a:pt x="6095133" y="4053382"/>
                </a:moveTo>
                <a:cubicBezTo>
                  <a:pt x="6095539" y="4055288"/>
                  <a:pt x="6094789" y="4056444"/>
                  <a:pt x="6093665" y="4058179"/>
                </a:cubicBezTo>
                <a:lnTo>
                  <a:pt x="6092651" y="4060432"/>
                </a:lnTo>
                <a:lnTo>
                  <a:pt x="6092133" y="4058007"/>
                </a:lnTo>
                <a:cubicBezTo>
                  <a:pt x="6092133" y="4058007"/>
                  <a:pt x="6095947" y="4057193"/>
                  <a:pt x="6095133" y="4053382"/>
                </a:cubicBezTo>
                <a:close/>
                <a:moveTo>
                  <a:pt x="1243863" y="4048308"/>
                </a:moveTo>
                <a:lnTo>
                  <a:pt x="1243853" y="4048690"/>
                </a:lnTo>
                <a:lnTo>
                  <a:pt x="1244017" y="4049024"/>
                </a:lnTo>
                <a:close/>
                <a:moveTo>
                  <a:pt x="6459303" y="4043956"/>
                </a:moveTo>
                <a:cubicBezTo>
                  <a:pt x="6455630" y="4049626"/>
                  <a:pt x="6451956" y="4055293"/>
                  <a:pt x="6452955" y="4059966"/>
                </a:cubicBezTo>
                <a:lnTo>
                  <a:pt x="6451467" y="4062259"/>
                </a:lnTo>
                <a:lnTo>
                  <a:pt x="6453708" y="4054920"/>
                </a:lnTo>
                <a:lnTo>
                  <a:pt x="6455441" y="4044781"/>
                </a:lnTo>
                <a:close/>
                <a:moveTo>
                  <a:pt x="6456817" y="4036740"/>
                </a:moveTo>
                <a:lnTo>
                  <a:pt x="6455441" y="4044781"/>
                </a:lnTo>
                <a:lnTo>
                  <a:pt x="6454631" y="4044953"/>
                </a:lnTo>
                <a:close/>
                <a:moveTo>
                  <a:pt x="1431945" y="4014196"/>
                </a:moveTo>
                <a:lnTo>
                  <a:pt x="1434938" y="4028209"/>
                </a:lnTo>
                <a:cubicBezTo>
                  <a:pt x="1434938" y="4028209"/>
                  <a:pt x="1429269" y="4024536"/>
                  <a:pt x="1428273" y="4019865"/>
                </a:cubicBezTo>
                <a:cubicBezTo>
                  <a:pt x="1432942" y="4018867"/>
                  <a:pt x="1431945" y="4014196"/>
                  <a:pt x="1431945" y="4014196"/>
                </a:cubicBezTo>
                <a:close/>
                <a:moveTo>
                  <a:pt x="1496703" y="3951518"/>
                </a:moveTo>
                <a:cubicBezTo>
                  <a:pt x="1496703" y="3951518"/>
                  <a:pt x="1497700" y="3956190"/>
                  <a:pt x="1502371" y="3955191"/>
                </a:cubicBezTo>
                <a:cubicBezTo>
                  <a:pt x="1497700" y="3956190"/>
                  <a:pt x="1502689" y="3979543"/>
                  <a:pt x="1498697" y="3960861"/>
                </a:cubicBezTo>
                <a:cubicBezTo>
                  <a:pt x="1497700" y="3956190"/>
                  <a:pt x="1497700" y="3956190"/>
                  <a:pt x="1496703" y="3951518"/>
                </a:cubicBezTo>
                <a:close/>
                <a:moveTo>
                  <a:pt x="2081274" y="3919538"/>
                </a:moveTo>
                <a:lnTo>
                  <a:pt x="2082728" y="3919927"/>
                </a:lnTo>
                <a:cubicBezTo>
                  <a:pt x="2082728" y="3919927"/>
                  <a:pt x="2082728" y="3919927"/>
                  <a:pt x="2081850" y="3923208"/>
                </a:cubicBezTo>
                <a:close/>
                <a:moveTo>
                  <a:pt x="6530564" y="3917715"/>
                </a:moveTo>
                <a:lnTo>
                  <a:pt x="6530564" y="3921552"/>
                </a:lnTo>
                <a:lnTo>
                  <a:pt x="6527556" y="3926194"/>
                </a:lnTo>
                <a:cubicBezTo>
                  <a:pt x="6527097" y="3926903"/>
                  <a:pt x="6527097" y="3926903"/>
                  <a:pt x="6527097" y="3926903"/>
                </a:cubicBezTo>
                <a:close/>
                <a:moveTo>
                  <a:pt x="6183373" y="3883119"/>
                </a:moveTo>
                <a:lnTo>
                  <a:pt x="6183235" y="3887133"/>
                </a:lnTo>
                <a:cubicBezTo>
                  <a:pt x="6183235" y="3887133"/>
                  <a:pt x="6183235" y="3887133"/>
                  <a:pt x="6182420" y="3883322"/>
                </a:cubicBezTo>
                <a:close/>
                <a:moveTo>
                  <a:pt x="6530394" y="3785167"/>
                </a:moveTo>
                <a:lnTo>
                  <a:pt x="6530564" y="3785630"/>
                </a:lnTo>
                <a:lnTo>
                  <a:pt x="6530564" y="3792682"/>
                </a:lnTo>
                <a:lnTo>
                  <a:pt x="6526181" y="3785456"/>
                </a:lnTo>
                <a:cubicBezTo>
                  <a:pt x="6528018" y="3782622"/>
                  <a:pt x="6529436" y="3783540"/>
                  <a:pt x="6530394" y="3785167"/>
                </a:cubicBezTo>
                <a:close/>
                <a:moveTo>
                  <a:pt x="2531063" y="3675825"/>
                </a:moveTo>
                <a:cubicBezTo>
                  <a:pt x="2544376" y="3721527"/>
                  <a:pt x="2557984" y="3767100"/>
                  <a:pt x="2572765" y="3812143"/>
                </a:cubicBezTo>
                <a:lnTo>
                  <a:pt x="2619585" y="3940039"/>
                </a:lnTo>
                <a:lnTo>
                  <a:pt x="2689216" y="4071055"/>
                </a:lnTo>
                <a:cubicBezTo>
                  <a:pt x="2704468" y="4095365"/>
                  <a:pt x="2717728" y="4121128"/>
                  <a:pt x="2731894" y="4145620"/>
                </a:cubicBezTo>
                <a:cubicBezTo>
                  <a:pt x="2733347" y="4147616"/>
                  <a:pt x="2735616" y="4149474"/>
                  <a:pt x="2736797" y="4151516"/>
                </a:cubicBezTo>
                <a:lnTo>
                  <a:pt x="2736150" y="4154286"/>
                </a:lnTo>
                <a:lnTo>
                  <a:pt x="2761162" y="4192307"/>
                </a:lnTo>
                <a:lnTo>
                  <a:pt x="2734027" y="4159027"/>
                </a:lnTo>
                <a:lnTo>
                  <a:pt x="2727501" y="4162023"/>
                </a:lnTo>
                <a:cubicBezTo>
                  <a:pt x="2724826" y="4161910"/>
                  <a:pt x="2722102" y="4160686"/>
                  <a:pt x="2719561" y="4158874"/>
                </a:cubicBezTo>
                <a:cubicBezTo>
                  <a:pt x="2708125" y="4150712"/>
                  <a:pt x="2699591" y="4139827"/>
                  <a:pt x="2694323" y="4128398"/>
                </a:cubicBezTo>
                <a:cubicBezTo>
                  <a:pt x="2676524" y="4095558"/>
                  <a:pt x="2656593" y="4063356"/>
                  <a:pt x="2638432" y="4030019"/>
                </a:cubicBezTo>
                <a:lnTo>
                  <a:pt x="2616715" y="3986397"/>
                </a:lnTo>
                <a:lnTo>
                  <a:pt x="2616051" y="3985283"/>
                </a:lnTo>
                <a:lnTo>
                  <a:pt x="2614788" y="3982527"/>
                </a:lnTo>
                <a:lnTo>
                  <a:pt x="2613003" y="3978941"/>
                </a:lnTo>
                <a:lnTo>
                  <a:pt x="2612430" y="3977382"/>
                </a:lnTo>
                <a:lnTo>
                  <a:pt x="2590101" y="3928646"/>
                </a:lnTo>
                <a:lnTo>
                  <a:pt x="2588278" y="3930926"/>
                </a:lnTo>
                <a:cubicBezTo>
                  <a:pt x="2587371" y="3933141"/>
                  <a:pt x="2587033" y="3935507"/>
                  <a:pt x="2586807" y="3937922"/>
                </a:cubicBezTo>
                <a:lnTo>
                  <a:pt x="2585985" y="3941174"/>
                </a:lnTo>
                <a:lnTo>
                  <a:pt x="2612386" y="4010360"/>
                </a:lnTo>
                <a:lnTo>
                  <a:pt x="2690871" y="4160213"/>
                </a:lnTo>
                <a:lnTo>
                  <a:pt x="2700625" y="4177201"/>
                </a:lnTo>
                <a:cubicBezTo>
                  <a:pt x="2703184" y="4181187"/>
                  <a:pt x="2706355" y="4185073"/>
                  <a:pt x="2708709" y="4189725"/>
                </a:cubicBezTo>
                <a:lnTo>
                  <a:pt x="2709242" y="4192597"/>
                </a:lnTo>
                <a:lnTo>
                  <a:pt x="2818914" y="4346218"/>
                </a:lnTo>
                <a:cubicBezTo>
                  <a:pt x="2861241" y="4397540"/>
                  <a:pt x="2907623" y="4446474"/>
                  <a:pt x="2958211" y="4492927"/>
                </a:cubicBezTo>
                <a:lnTo>
                  <a:pt x="3037117" y="4556144"/>
                </a:lnTo>
                <a:lnTo>
                  <a:pt x="3127435" y="4612403"/>
                </a:lnTo>
                <a:cubicBezTo>
                  <a:pt x="3160291" y="4631663"/>
                  <a:pt x="3193888" y="4649695"/>
                  <a:pt x="3228660" y="4665324"/>
                </a:cubicBezTo>
                <a:cubicBezTo>
                  <a:pt x="3246659" y="4674928"/>
                  <a:pt x="3261389" y="4687601"/>
                  <a:pt x="3284085" y="4680023"/>
                </a:cubicBezTo>
                <a:cubicBezTo>
                  <a:pt x="3297170" y="4675314"/>
                  <a:pt x="3311489" y="4685533"/>
                  <a:pt x="3324987" y="4690843"/>
                </a:cubicBezTo>
                <a:cubicBezTo>
                  <a:pt x="3394736" y="4723328"/>
                  <a:pt x="3467956" y="4746405"/>
                  <a:pt x="3540971" y="4768253"/>
                </a:cubicBezTo>
                <a:cubicBezTo>
                  <a:pt x="3546289" y="4769888"/>
                  <a:pt x="3550379" y="4771726"/>
                  <a:pt x="3555898" y="4767020"/>
                </a:cubicBezTo>
                <a:cubicBezTo>
                  <a:pt x="3556712" y="4756793"/>
                  <a:pt x="3546692" y="4757208"/>
                  <a:pt x="3541374" y="4755574"/>
                </a:cubicBezTo>
                <a:cubicBezTo>
                  <a:pt x="3427660" y="4724131"/>
                  <a:pt x="3321505" y="4677553"/>
                  <a:pt x="3218006" y="4624223"/>
                </a:cubicBezTo>
                <a:cubicBezTo>
                  <a:pt x="3213914" y="4622385"/>
                  <a:pt x="3209824" y="4620546"/>
                  <a:pt x="3205733" y="4618706"/>
                </a:cubicBezTo>
                <a:cubicBezTo>
                  <a:pt x="3200211" y="4615846"/>
                  <a:pt x="3196937" y="4611348"/>
                  <a:pt x="3202251" y="4605416"/>
                </a:cubicBezTo>
                <a:cubicBezTo>
                  <a:pt x="3205927" y="4597234"/>
                  <a:pt x="3210223" y="4600300"/>
                  <a:pt x="3215747" y="4603161"/>
                </a:cubicBezTo>
                <a:cubicBezTo>
                  <a:pt x="3235689" y="4614961"/>
                  <a:pt x="3256222" y="4625561"/>
                  <a:pt x="3277149" y="4635346"/>
                </a:cubicBezTo>
                <a:lnTo>
                  <a:pt x="3300817" y="4645474"/>
                </a:lnTo>
                <a:lnTo>
                  <a:pt x="3203581" y="4589043"/>
                </a:lnTo>
                <a:cubicBezTo>
                  <a:pt x="3051439" y="4487592"/>
                  <a:pt x="2921098" y="4359931"/>
                  <a:pt x="2817218" y="4214123"/>
                </a:cubicBezTo>
                <a:lnTo>
                  <a:pt x="2795524" y="4180373"/>
                </a:lnTo>
                <a:lnTo>
                  <a:pt x="2794029" y="4178497"/>
                </a:lnTo>
                <a:lnTo>
                  <a:pt x="2777085" y="4161569"/>
                </a:lnTo>
                <a:lnTo>
                  <a:pt x="2741001" y="4101332"/>
                </a:lnTo>
                <a:lnTo>
                  <a:pt x="2679864" y="4007725"/>
                </a:lnTo>
                <a:cubicBezTo>
                  <a:pt x="2618900" y="3903300"/>
                  <a:pt x="2568950" y="3793094"/>
                  <a:pt x="2531063" y="3675825"/>
                </a:cubicBezTo>
                <a:close/>
                <a:moveTo>
                  <a:pt x="1469523" y="3664273"/>
                </a:moveTo>
                <a:cubicBezTo>
                  <a:pt x="1470520" y="3668943"/>
                  <a:pt x="1470520" y="3668943"/>
                  <a:pt x="1470520" y="3668943"/>
                </a:cubicBezTo>
                <a:cubicBezTo>
                  <a:pt x="1465849" y="3669942"/>
                  <a:pt x="1464851" y="3665270"/>
                  <a:pt x="1464851" y="3665270"/>
                </a:cubicBezTo>
                <a:cubicBezTo>
                  <a:pt x="1464851" y="3665270"/>
                  <a:pt x="1469523" y="3664273"/>
                  <a:pt x="1469523" y="3664273"/>
                </a:cubicBezTo>
                <a:close/>
                <a:moveTo>
                  <a:pt x="1961674" y="3623805"/>
                </a:moveTo>
                <a:lnTo>
                  <a:pt x="1961195" y="3627779"/>
                </a:lnTo>
                <a:lnTo>
                  <a:pt x="1960794" y="3627086"/>
                </a:lnTo>
                <a:cubicBezTo>
                  <a:pt x="1960794" y="3627086"/>
                  <a:pt x="1960794" y="3627086"/>
                  <a:pt x="1961674" y="3623805"/>
                </a:cubicBezTo>
                <a:close/>
                <a:moveTo>
                  <a:pt x="6199520" y="3608723"/>
                </a:moveTo>
                <a:cubicBezTo>
                  <a:pt x="6189150" y="3634846"/>
                  <a:pt x="6186664" y="3679206"/>
                  <a:pt x="6184735" y="3707510"/>
                </a:cubicBezTo>
                <a:cubicBezTo>
                  <a:pt x="6172479" y="3706143"/>
                  <a:pt x="6159367" y="3756759"/>
                  <a:pt x="6163438" y="3775812"/>
                </a:cubicBezTo>
                <a:cubicBezTo>
                  <a:pt x="6163438" y="3775812"/>
                  <a:pt x="6163438" y="3775812"/>
                  <a:pt x="6164252" y="3779623"/>
                </a:cubicBezTo>
                <a:cubicBezTo>
                  <a:pt x="6164252" y="3779623"/>
                  <a:pt x="6161253" y="3784247"/>
                  <a:pt x="6161253" y="3784247"/>
                </a:cubicBezTo>
                <a:cubicBezTo>
                  <a:pt x="6162069" y="3788059"/>
                  <a:pt x="6165881" y="3787245"/>
                  <a:pt x="6165881" y="3787245"/>
                </a:cubicBezTo>
                <a:cubicBezTo>
                  <a:pt x="6169695" y="3786429"/>
                  <a:pt x="6168881" y="3782617"/>
                  <a:pt x="6168881" y="3782617"/>
                </a:cubicBezTo>
                <a:cubicBezTo>
                  <a:pt x="6161510" y="3804116"/>
                  <a:pt x="6151697" y="3814180"/>
                  <a:pt x="6144582" y="3855546"/>
                </a:cubicBezTo>
                <a:cubicBezTo>
                  <a:pt x="6145397" y="3859358"/>
                  <a:pt x="6141585" y="3860172"/>
                  <a:pt x="6142399" y="3863981"/>
                </a:cubicBezTo>
                <a:cubicBezTo>
                  <a:pt x="6143213" y="3867791"/>
                  <a:pt x="6139398" y="3868606"/>
                  <a:pt x="6139398" y="3868606"/>
                </a:cubicBezTo>
                <a:cubicBezTo>
                  <a:pt x="6141026" y="3876229"/>
                  <a:pt x="6141026" y="3876229"/>
                  <a:pt x="6144841" y="3875415"/>
                </a:cubicBezTo>
                <a:cubicBezTo>
                  <a:pt x="6141840" y="3880038"/>
                  <a:pt x="6137470" y="3896910"/>
                  <a:pt x="6133657" y="3897726"/>
                </a:cubicBezTo>
                <a:cubicBezTo>
                  <a:pt x="6125173" y="3951336"/>
                  <a:pt x="6094619" y="4013646"/>
                  <a:pt x="6089949" y="4066444"/>
                </a:cubicBezTo>
                <a:lnTo>
                  <a:pt x="6092651" y="4060432"/>
                </a:lnTo>
                <a:lnTo>
                  <a:pt x="6092947" y="4061819"/>
                </a:lnTo>
                <a:cubicBezTo>
                  <a:pt x="6089949" y="4066444"/>
                  <a:pt x="6089949" y="4066444"/>
                  <a:pt x="6090763" y="4070255"/>
                </a:cubicBezTo>
                <a:cubicBezTo>
                  <a:pt x="6090763" y="4070255"/>
                  <a:pt x="6094575" y="4069439"/>
                  <a:pt x="6094575" y="4069439"/>
                </a:cubicBezTo>
                <a:cubicBezTo>
                  <a:pt x="6097575" y="4064815"/>
                  <a:pt x="6097575" y="4064815"/>
                  <a:pt x="6096761" y="4061003"/>
                </a:cubicBezTo>
                <a:cubicBezTo>
                  <a:pt x="6098389" y="4068625"/>
                  <a:pt x="6094833" y="4089307"/>
                  <a:pt x="6093461" y="4101553"/>
                </a:cubicBezTo>
                <a:cubicBezTo>
                  <a:pt x="6092647" y="4097743"/>
                  <a:pt x="6092647" y="4097743"/>
                  <a:pt x="6092647" y="4097743"/>
                </a:cubicBezTo>
                <a:cubicBezTo>
                  <a:pt x="6092647" y="4097743"/>
                  <a:pt x="6089647" y="4102367"/>
                  <a:pt x="6090461" y="4106179"/>
                </a:cubicBezTo>
                <a:cubicBezTo>
                  <a:pt x="6086648" y="4106993"/>
                  <a:pt x="6087462" y="4110804"/>
                  <a:pt x="6087462" y="4110804"/>
                </a:cubicBezTo>
                <a:cubicBezTo>
                  <a:pt x="6076534" y="4152985"/>
                  <a:pt x="6060166" y="4188356"/>
                  <a:pt x="6037541" y="4213114"/>
                </a:cubicBezTo>
                <a:cubicBezTo>
                  <a:pt x="6041354" y="4212298"/>
                  <a:pt x="6040540" y="4208487"/>
                  <a:pt x="6040540" y="4208487"/>
                </a:cubicBezTo>
                <a:cubicBezTo>
                  <a:pt x="6039726" y="4204676"/>
                  <a:pt x="6039726" y="4204676"/>
                  <a:pt x="6035913" y="4205492"/>
                </a:cubicBezTo>
                <a:cubicBezTo>
                  <a:pt x="6035913" y="4205492"/>
                  <a:pt x="6036727" y="4209302"/>
                  <a:pt x="6036727" y="4209302"/>
                </a:cubicBezTo>
                <a:cubicBezTo>
                  <a:pt x="6036727" y="4209302"/>
                  <a:pt x="6036727" y="4209302"/>
                  <a:pt x="6037541" y="4213114"/>
                </a:cubicBezTo>
                <a:cubicBezTo>
                  <a:pt x="6033727" y="4213928"/>
                  <a:pt x="6034541" y="4217738"/>
                  <a:pt x="6034541" y="4217738"/>
                </a:cubicBezTo>
                <a:cubicBezTo>
                  <a:pt x="6029913" y="4214742"/>
                  <a:pt x="6024727" y="4227804"/>
                  <a:pt x="6019543" y="4240865"/>
                </a:cubicBezTo>
                <a:cubicBezTo>
                  <a:pt x="6024171" y="4243861"/>
                  <a:pt x="6026355" y="4235425"/>
                  <a:pt x="6026355" y="4235425"/>
                </a:cubicBezTo>
                <a:cubicBezTo>
                  <a:pt x="6027169" y="4239235"/>
                  <a:pt x="6027169" y="4239235"/>
                  <a:pt x="6027169" y="4239235"/>
                </a:cubicBezTo>
                <a:cubicBezTo>
                  <a:pt x="6027984" y="4243047"/>
                  <a:pt x="6027984" y="4243047"/>
                  <a:pt x="6027984" y="4243047"/>
                </a:cubicBezTo>
                <a:cubicBezTo>
                  <a:pt x="6027984" y="4243047"/>
                  <a:pt x="6030985" y="4238420"/>
                  <a:pt x="6030985" y="4238420"/>
                </a:cubicBezTo>
                <a:cubicBezTo>
                  <a:pt x="6025799" y="4251482"/>
                  <a:pt x="6029612" y="4250666"/>
                  <a:pt x="6021427" y="4268354"/>
                </a:cubicBezTo>
                <a:cubicBezTo>
                  <a:pt x="6020613" y="4264544"/>
                  <a:pt x="6020613" y="4264544"/>
                  <a:pt x="6020613" y="4264544"/>
                </a:cubicBezTo>
                <a:cubicBezTo>
                  <a:pt x="6020613" y="4264544"/>
                  <a:pt x="6020613" y="4264544"/>
                  <a:pt x="6023613" y="4259918"/>
                </a:cubicBezTo>
                <a:cubicBezTo>
                  <a:pt x="6022799" y="4256108"/>
                  <a:pt x="6022799" y="4256108"/>
                  <a:pt x="6022799" y="4256108"/>
                </a:cubicBezTo>
                <a:cubicBezTo>
                  <a:pt x="6018985" y="4256922"/>
                  <a:pt x="6015986" y="4261548"/>
                  <a:pt x="6016800" y="4265358"/>
                </a:cubicBezTo>
                <a:cubicBezTo>
                  <a:pt x="6016800" y="4265358"/>
                  <a:pt x="6012987" y="4266173"/>
                  <a:pt x="6013801" y="4269984"/>
                </a:cubicBezTo>
                <a:cubicBezTo>
                  <a:pt x="6006175" y="4271612"/>
                  <a:pt x="5997175" y="4285488"/>
                  <a:pt x="5985177" y="4303990"/>
                </a:cubicBezTo>
                <a:cubicBezTo>
                  <a:pt x="5976993" y="4321677"/>
                  <a:pt x="5969622" y="4343174"/>
                  <a:pt x="5968249" y="4355422"/>
                </a:cubicBezTo>
                <a:cubicBezTo>
                  <a:pt x="5968249" y="4355422"/>
                  <a:pt x="5968249" y="4355422"/>
                  <a:pt x="5964437" y="4356236"/>
                </a:cubicBezTo>
                <a:cubicBezTo>
                  <a:pt x="5964437" y="4356236"/>
                  <a:pt x="5961437" y="4360860"/>
                  <a:pt x="5962251" y="4364670"/>
                </a:cubicBezTo>
                <a:cubicBezTo>
                  <a:pt x="5958437" y="4365486"/>
                  <a:pt x="5958437" y="4365486"/>
                  <a:pt x="5958437" y="4365486"/>
                </a:cubicBezTo>
                <a:cubicBezTo>
                  <a:pt x="5959251" y="4369296"/>
                  <a:pt x="5959251" y="4369296"/>
                  <a:pt x="5959251" y="4369296"/>
                </a:cubicBezTo>
                <a:cubicBezTo>
                  <a:pt x="5954067" y="4382358"/>
                  <a:pt x="5949439" y="4379362"/>
                  <a:pt x="5945069" y="4396235"/>
                </a:cubicBezTo>
                <a:cubicBezTo>
                  <a:pt x="5946697" y="4403855"/>
                  <a:pt x="5951881" y="4390793"/>
                  <a:pt x="5955695" y="4389979"/>
                </a:cubicBezTo>
                <a:cubicBezTo>
                  <a:pt x="5955695" y="4389979"/>
                  <a:pt x="5956509" y="4393791"/>
                  <a:pt x="5956509" y="4393791"/>
                </a:cubicBezTo>
                <a:cubicBezTo>
                  <a:pt x="5957323" y="4397601"/>
                  <a:pt x="5960323" y="4392975"/>
                  <a:pt x="5959509" y="4389164"/>
                </a:cubicBezTo>
                <a:cubicBezTo>
                  <a:pt x="5963323" y="4388350"/>
                  <a:pt x="5963323" y="4388350"/>
                  <a:pt x="5963323" y="4388350"/>
                </a:cubicBezTo>
                <a:cubicBezTo>
                  <a:pt x="5958137" y="4401410"/>
                  <a:pt x="5949139" y="4415286"/>
                  <a:pt x="5943140" y="4424538"/>
                </a:cubicBezTo>
                <a:cubicBezTo>
                  <a:pt x="5933884" y="4418547"/>
                  <a:pt x="5933884" y="4418547"/>
                  <a:pt x="5933884" y="4418547"/>
                </a:cubicBezTo>
                <a:cubicBezTo>
                  <a:pt x="5921072" y="4433236"/>
                  <a:pt x="5908260" y="4447927"/>
                  <a:pt x="5895447" y="4462619"/>
                </a:cubicBezTo>
                <a:cubicBezTo>
                  <a:pt x="5887263" y="4480304"/>
                  <a:pt x="5892705" y="4487111"/>
                  <a:pt x="5880707" y="4505613"/>
                </a:cubicBezTo>
                <a:cubicBezTo>
                  <a:pt x="5870893" y="4515679"/>
                  <a:pt x="5861081" y="4525744"/>
                  <a:pt x="5846083" y="4548870"/>
                </a:cubicBezTo>
                <a:cubicBezTo>
                  <a:pt x="5840898" y="4561932"/>
                  <a:pt x="5852339" y="4559487"/>
                  <a:pt x="5839527" y="4574178"/>
                </a:cubicBezTo>
                <a:cubicBezTo>
                  <a:pt x="5798904" y="4626687"/>
                  <a:pt x="5769165" y="4692807"/>
                  <a:pt x="5727729" y="4741505"/>
                </a:cubicBezTo>
                <a:cubicBezTo>
                  <a:pt x="5757167" y="4711309"/>
                  <a:pt x="5784163" y="4669680"/>
                  <a:pt x="5808417" y="4652545"/>
                </a:cubicBezTo>
                <a:cubicBezTo>
                  <a:pt x="5824787" y="4617173"/>
                  <a:pt x="5848781" y="4580169"/>
                  <a:pt x="5869779" y="4547793"/>
                </a:cubicBezTo>
                <a:cubicBezTo>
                  <a:pt x="5870593" y="4551603"/>
                  <a:pt x="5870593" y="4551603"/>
                  <a:pt x="5870593" y="4551603"/>
                </a:cubicBezTo>
                <a:cubicBezTo>
                  <a:pt x="5867593" y="4556229"/>
                  <a:pt x="5867593" y="4556229"/>
                  <a:pt x="5868407" y="4560039"/>
                </a:cubicBezTo>
                <a:cubicBezTo>
                  <a:pt x="5868407" y="4560039"/>
                  <a:pt x="5872222" y="4559224"/>
                  <a:pt x="5871408" y="4555413"/>
                </a:cubicBezTo>
                <a:cubicBezTo>
                  <a:pt x="5878220" y="4549973"/>
                  <a:pt x="5878220" y="4549973"/>
                  <a:pt x="5878220" y="4549973"/>
                </a:cubicBezTo>
                <a:cubicBezTo>
                  <a:pt x="5875221" y="4554598"/>
                  <a:pt x="5872222" y="4559224"/>
                  <a:pt x="5869221" y="4563850"/>
                </a:cubicBezTo>
                <a:cubicBezTo>
                  <a:pt x="5893476" y="4546714"/>
                  <a:pt x="5914473" y="4514338"/>
                  <a:pt x="5934654" y="4478149"/>
                </a:cubicBezTo>
                <a:cubicBezTo>
                  <a:pt x="5954024" y="4438150"/>
                  <a:pt x="5976392" y="4393527"/>
                  <a:pt x="5995761" y="4353528"/>
                </a:cubicBezTo>
                <a:cubicBezTo>
                  <a:pt x="6007759" y="4335026"/>
                  <a:pt x="6024942" y="4303464"/>
                  <a:pt x="6037497" y="4268905"/>
                </a:cubicBezTo>
                <a:cubicBezTo>
                  <a:pt x="6054681" y="4237344"/>
                  <a:pt x="6063422" y="4203598"/>
                  <a:pt x="6066979" y="4182916"/>
                </a:cubicBezTo>
                <a:cubicBezTo>
                  <a:pt x="6078162" y="4160604"/>
                  <a:pt x="6088532" y="4134483"/>
                  <a:pt x="6092089" y="4113800"/>
                </a:cubicBezTo>
                <a:cubicBezTo>
                  <a:pt x="6092089" y="4113800"/>
                  <a:pt x="6095903" y="4112984"/>
                  <a:pt x="6095089" y="4109174"/>
                </a:cubicBezTo>
                <a:cubicBezTo>
                  <a:pt x="6098089" y="4104550"/>
                  <a:pt x="6098089" y="4104550"/>
                  <a:pt x="6097275" y="4100738"/>
                </a:cubicBezTo>
                <a:cubicBezTo>
                  <a:pt x="6124013" y="4039243"/>
                  <a:pt x="6133313" y="3989443"/>
                  <a:pt x="6147797" y="3926580"/>
                </a:cubicBezTo>
                <a:cubicBezTo>
                  <a:pt x="6158423" y="3920325"/>
                  <a:pt x="6157052" y="3932572"/>
                  <a:pt x="6161681" y="3935566"/>
                </a:cubicBezTo>
                <a:cubicBezTo>
                  <a:pt x="6168493" y="3930128"/>
                  <a:pt x="6170678" y="3921692"/>
                  <a:pt x="6176677" y="3912441"/>
                </a:cubicBezTo>
                <a:cubicBezTo>
                  <a:pt x="6173679" y="3917066"/>
                  <a:pt x="6174493" y="3920876"/>
                  <a:pt x="6174493" y="3920876"/>
                </a:cubicBezTo>
                <a:cubicBezTo>
                  <a:pt x="6171492" y="3925502"/>
                  <a:pt x="6171492" y="3925502"/>
                  <a:pt x="6172306" y="3929312"/>
                </a:cubicBezTo>
                <a:cubicBezTo>
                  <a:pt x="6176121" y="3928497"/>
                  <a:pt x="6175307" y="3924687"/>
                  <a:pt x="6175307" y="3924687"/>
                </a:cubicBezTo>
                <a:cubicBezTo>
                  <a:pt x="6178306" y="3920062"/>
                  <a:pt x="6177492" y="3916252"/>
                  <a:pt x="6177492" y="3916252"/>
                </a:cubicBezTo>
                <a:cubicBezTo>
                  <a:pt x="6177492" y="3916252"/>
                  <a:pt x="6180491" y="3911626"/>
                  <a:pt x="6180491" y="3911626"/>
                </a:cubicBezTo>
                <a:cubicBezTo>
                  <a:pt x="6182677" y="3903190"/>
                  <a:pt x="6184863" y="3894755"/>
                  <a:pt x="6187861" y="3890129"/>
                </a:cubicBezTo>
                <a:cubicBezTo>
                  <a:pt x="6187861" y="3890129"/>
                  <a:pt x="6187861" y="3890129"/>
                  <a:pt x="6187047" y="3886319"/>
                </a:cubicBezTo>
                <a:cubicBezTo>
                  <a:pt x="6187047" y="3886319"/>
                  <a:pt x="6186233" y="3882508"/>
                  <a:pt x="6186233" y="3882508"/>
                </a:cubicBezTo>
                <a:lnTo>
                  <a:pt x="6183373" y="3883119"/>
                </a:lnTo>
                <a:lnTo>
                  <a:pt x="6183513" y="3879104"/>
                </a:lnTo>
                <a:cubicBezTo>
                  <a:pt x="6183107" y="3877200"/>
                  <a:pt x="6182699" y="3875294"/>
                  <a:pt x="6183791" y="3871076"/>
                </a:cubicBezTo>
                <a:cubicBezTo>
                  <a:pt x="6177536" y="3860460"/>
                  <a:pt x="6174793" y="3884952"/>
                  <a:pt x="6167166" y="3886581"/>
                </a:cubicBezTo>
                <a:cubicBezTo>
                  <a:pt x="6170722" y="3865899"/>
                  <a:pt x="6166095" y="3862904"/>
                  <a:pt x="6168280" y="3854469"/>
                </a:cubicBezTo>
                <a:cubicBezTo>
                  <a:pt x="6163653" y="3851471"/>
                  <a:pt x="6163653" y="3851471"/>
                  <a:pt x="6163653" y="3851471"/>
                </a:cubicBezTo>
                <a:cubicBezTo>
                  <a:pt x="6163653" y="3851471"/>
                  <a:pt x="6163653" y="3851471"/>
                  <a:pt x="6167465" y="3850657"/>
                </a:cubicBezTo>
                <a:cubicBezTo>
                  <a:pt x="6167465" y="3850657"/>
                  <a:pt x="6166651" y="3846847"/>
                  <a:pt x="6166651" y="3846847"/>
                </a:cubicBezTo>
                <a:cubicBezTo>
                  <a:pt x="6169652" y="3842221"/>
                  <a:pt x="6169652" y="3842221"/>
                  <a:pt x="6165837" y="3843036"/>
                </a:cubicBezTo>
                <a:cubicBezTo>
                  <a:pt x="6165022" y="3839226"/>
                  <a:pt x="6165022" y="3839226"/>
                  <a:pt x="6165022" y="3839226"/>
                </a:cubicBezTo>
                <a:cubicBezTo>
                  <a:pt x="6174579" y="3809291"/>
                  <a:pt x="6184949" y="3783170"/>
                  <a:pt x="6175693" y="3777178"/>
                </a:cubicBezTo>
                <a:cubicBezTo>
                  <a:pt x="6171880" y="3777993"/>
                  <a:pt x="6171880" y="3777993"/>
                  <a:pt x="6171880" y="3777993"/>
                </a:cubicBezTo>
                <a:cubicBezTo>
                  <a:pt x="6175693" y="3777178"/>
                  <a:pt x="6174879" y="3773367"/>
                  <a:pt x="6174879" y="3773367"/>
                </a:cubicBezTo>
                <a:cubicBezTo>
                  <a:pt x="6178693" y="3772553"/>
                  <a:pt x="6177065" y="3764931"/>
                  <a:pt x="6180065" y="3760306"/>
                </a:cubicBezTo>
                <a:cubicBezTo>
                  <a:pt x="6179251" y="3756496"/>
                  <a:pt x="6179251" y="3756496"/>
                  <a:pt x="6175436" y="3757310"/>
                </a:cubicBezTo>
                <a:cubicBezTo>
                  <a:pt x="6186063" y="3751055"/>
                  <a:pt x="6192619" y="3725749"/>
                  <a:pt x="6197548" y="3692818"/>
                </a:cubicBezTo>
                <a:cubicBezTo>
                  <a:pt x="6202477" y="3659890"/>
                  <a:pt x="6199777" y="3628590"/>
                  <a:pt x="6199520" y="3608723"/>
                </a:cubicBezTo>
                <a:close/>
                <a:moveTo>
                  <a:pt x="6065238" y="3308795"/>
                </a:moveTo>
                <a:lnTo>
                  <a:pt x="6065531" y="3314628"/>
                </a:lnTo>
                <a:cubicBezTo>
                  <a:pt x="6065619" y="3535954"/>
                  <a:pt x="6032197" y="3753635"/>
                  <a:pt x="5962661" y="3968210"/>
                </a:cubicBezTo>
                <a:cubicBezTo>
                  <a:pt x="5923735" y="4086245"/>
                  <a:pt x="5863115" y="4192627"/>
                  <a:pt x="5809937" y="4303923"/>
                </a:cubicBezTo>
                <a:cubicBezTo>
                  <a:pt x="5743915" y="4446814"/>
                  <a:pt x="5660651" y="4577784"/>
                  <a:pt x="5551706" y="4690196"/>
                </a:cubicBezTo>
                <a:cubicBezTo>
                  <a:pt x="5541612" y="4700629"/>
                  <a:pt x="5535239" y="4713519"/>
                  <a:pt x="5516536" y="4707050"/>
                </a:cubicBezTo>
                <a:cubicBezTo>
                  <a:pt x="5511453" y="4704228"/>
                  <a:pt x="5505908" y="4708581"/>
                  <a:pt x="5503087" y="4713664"/>
                </a:cubicBezTo>
                <a:cubicBezTo>
                  <a:pt x="5442689" y="4786530"/>
                  <a:pt x="5375216" y="4853121"/>
                  <a:pt x="5304022" y="4917255"/>
                </a:cubicBezTo>
                <a:cubicBezTo>
                  <a:pt x="5302296" y="4918251"/>
                  <a:pt x="5301565" y="4920976"/>
                  <a:pt x="5300471" y="4925062"/>
                </a:cubicBezTo>
                <a:cubicBezTo>
                  <a:pt x="5316350" y="4936615"/>
                  <a:pt x="5328341" y="4935449"/>
                  <a:pt x="5343981" y="4920662"/>
                </a:cubicBezTo>
                <a:cubicBezTo>
                  <a:pt x="5452365" y="4821238"/>
                  <a:pt x="5563109" y="4723908"/>
                  <a:pt x="5655346" y="4608480"/>
                </a:cubicBezTo>
                <a:cubicBezTo>
                  <a:pt x="5805256" y="4419455"/>
                  <a:pt x="5915500" y="4209583"/>
                  <a:pt x="5983356" y="3978135"/>
                </a:cubicBezTo>
                <a:cubicBezTo>
                  <a:pt x="6021115" y="3848108"/>
                  <a:pt x="6058875" y="3718084"/>
                  <a:pt x="6073117" y="3583217"/>
                </a:cubicBezTo>
                <a:lnTo>
                  <a:pt x="6074066" y="3578467"/>
                </a:lnTo>
                <a:lnTo>
                  <a:pt x="6079369" y="3507090"/>
                </a:lnTo>
                <a:cubicBezTo>
                  <a:pt x="6079795" y="3459249"/>
                  <a:pt x="6077335" y="3411548"/>
                  <a:pt x="6072751" y="3363985"/>
                </a:cubicBezTo>
                <a:close/>
                <a:moveTo>
                  <a:pt x="2047326" y="3281632"/>
                </a:moveTo>
                <a:lnTo>
                  <a:pt x="2045645" y="3284178"/>
                </a:lnTo>
                <a:lnTo>
                  <a:pt x="2047343" y="3286585"/>
                </a:lnTo>
                <a:close/>
                <a:moveTo>
                  <a:pt x="2051036" y="3201671"/>
                </a:moveTo>
                <a:lnTo>
                  <a:pt x="2050661" y="3206416"/>
                </a:lnTo>
                <a:cubicBezTo>
                  <a:pt x="2050023" y="3213716"/>
                  <a:pt x="2049494" y="3220607"/>
                  <a:pt x="2049263" y="3226807"/>
                </a:cubicBezTo>
                <a:lnTo>
                  <a:pt x="2049406" y="3233130"/>
                </a:lnTo>
                <a:close/>
                <a:moveTo>
                  <a:pt x="1495570" y="3077486"/>
                </a:moveTo>
                <a:cubicBezTo>
                  <a:pt x="1496569" y="3082159"/>
                  <a:pt x="1496569" y="3082159"/>
                  <a:pt x="1496569" y="3082159"/>
                </a:cubicBezTo>
                <a:cubicBezTo>
                  <a:pt x="1496569" y="3082159"/>
                  <a:pt x="1491897" y="3083156"/>
                  <a:pt x="1491897" y="3083156"/>
                </a:cubicBezTo>
                <a:cubicBezTo>
                  <a:pt x="1495570" y="3077486"/>
                  <a:pt x="1495570" y="3077486"/>
                  <a:pt x="1495570" y="3077486"/>
                </a:cubicBezTo>
                <a:close/>
                <a:moveTo>
                  <a:pt x="2063000" y="3065542"/>
                </a:moveTo>
                <a:lnTo>
                  <a:pt x="2061195" y="3075253"/>
                </a:lnTo>
                <a:cubicBezTo>
                  <a:pt x="2060063" y="3083575"/>
                  <a:pt x="2059108" y="3092878"/>
                  <a:pt x="2058277" y="3102543"/>
                </a:cubicBezTo>
                <a:lnTo>
                  <a:pt x="2056929" y="3122128"/>
                </a:lnTo>
                <a:close/>
                <a:moveTo>
                  <a:pt x="6487598" y="3056185"/>
                </a:moveTo>
                <a:cubicBezTo>
                  <a:pt x="6488597" y="3060857"/>
                  <a:pt x="6493268" y="3059858"/>
                  <a:pt x="6493268" y="3059858"/>
                </a:cubicBezTo>
                <a:cubicBezTo>
                  <a:pt x="6488597" y="3060857"/>
                  <a:pt x="6488597" y="3060857"/>
                  <a:pt x="6488597" y="3060857"/>
                </a:cubicBezTo>
                <a:cubicBezTo>
                  <a:pt x="6487598" y="3056185"/>
                  <a:pt x="6487598" y="3056185"/>
                  <a:pt x="6487598" y="3056185"/>
                </a:cubicBezTo>
                <a:close/>
                <a:moveTo>
                  <a:pt x="6485963" y="3002807"/>
                </a:moveTo>
                <a:cubicBezTo>
                  <a:pt x="6493945" y="3040177"/>
                  <a:pt x="6496941" y="3054189"/>
                  <a:pt x="6508597" y="3085888"/>
                </a:cubicBezTo>
                <a:cubicBezTo>
                  <a:pt x="6512769" y="3082554"/>
                  <a:pt x="6517021" y="3085309"/>
                  <a:pt x="6520853" y="3091817"/>
                </a:cubicBezTo>
                <a:lnTo>
                  <a:pt x="6530564" y="3120178"/>
                </a:lnTo>
                <a:lnTo>
                  <a:pt x="6530564" y="3206162"/>
                </a:lnTo>
                <a:lnTo>
                  <a:pt x="6521209" y="3190646"/>
                </a:lnTo>
                <a:cubicBezTo>
                  <a:pt x="6526878" y="3194319"/>
                  <a:pt x="6526878" y="3194319"/>
                  <a:pt x="6525881" y="3189649"/>
                </a:cubicBezTo>
                <a:cubicBezTo>
                  <a:pt x="6529555" y="3183979"/>
                  <a:pt x="6523885" y="3180305"/>
                  <a:pt x="6523885" y="3180305"/>
                </a:cubicBezTo>
                <a:cubicBezTo>
                  <a:pt x="6523885" y="3180305"/>
                  <a:pt x="6523885" y="3180305"/>
                  <a:pt x="6522887" y="3175635"/>
                </a:cubicBezTo>
                <a:cubicBezTo>
                  <a:pt x="6529235" y="3159627"/>
                  <a:pt x="6512229" y="3148606"/>
                  <a:pt x="6517578" y="3127927"/>
                </a:cubicBezTo>
                <a:cubicBezTo>
                  <a:pt x="6512907" y="3128925"/>
                  <a:pt x="6512907" y="3128925"/>
                  <a:pt x="6512907" y="3128925"/>
                </a:cubicBezTo>
                <a:cubicBezTo>
                  <a:pt x="6517578" y="3127927"/>
                  <a:pt x="6516581" y="3123256"/>
                  <a:pt x="6516581" y="3123256"/>
                </a:cubicBezTo>
                <a:cubicBezTo>
                  <a:pt x="6515583" y="3118585"/>
                  <a:pt x="6515583" y="3118585"/>
                  <a:pt x="6510911" y="3119583"/>
                </a:cubicBezTo>
                <a:cubicBezTo>
                  <a:pt x="6507917" y="3105571"/>
                  <a:pt x="6504923" y="3091557"/>
                  <a:pt x="6504923" y="3091557"/>
                </a:cubicBezTo>
                <a:cubicBezTo>
                  <a:pt x="6501930" y="3077543"/>
                  <a:pt x="6502249" y="3101897"/>
                  <a:pt x="6497260" y="3078542"/>
                </a:cubicBezTo>
                <a:cubicBezTo>
                  <a:pt x="6502927" y="3082216"/>
                  <a:pt x="6506600" y="3076546"/>
                  <a:pt x="6500931" y="3072873"/>
                </a:cubicBezTo>
                <a:cubicBezTo>
                  <a:pt x="6495263" y="3069200"/>
                  <a:pt x="6495583" y="3093553"/>
                  <a:pt x="6490593" y="3070198"/>
                </a:cubicBezTo>
                <a:cubicBezTo>
                  <a:pt x="6490593" y="3070198"/>
                  <a:pt x="6490593" y="3070198"/>
                  <a:pt x="6495263" y="3069200"/>
                </a:cubicBezTo>
                <a:cubicBezTo>
                  <a:pt x="6495263" y="3069200"/>
                  <a:pt x="6495263" y="3069200"/>
                  <a:pt x="6494265" y="3064529"/>
                </a:cubicBezTo>
                <a:cubicBezTo>
                  <a:pt x="6494265" y="3064529"/>
                  <a:pt x="6493268" y="3059858"/>
                  <a:pt x="6493268" y="3059858"/>
                </a:cubicBezTo>
                <a:cubicBezTo>
                  <a:pt x="6492269" y="3055188"/>
                  <a:pt x="6492269" y="3055188"/>
                  <a:pt x="6492269" y="3055188"/>
                </a:cubicBezTo>
                <a:cubicBezTo>
                  <a:pt x="6491272" y="3050515"/>
                  <a:pt x="6491272" y="3050515"/>
                  <a:pt x="6491272" y="3050515"/>
                </a:cubicBezTo>
                <a:cubicBezTo>
                  <a:pt x="6495941" y="3049518"/>
                  <a:pt x="6494945" y="3044847"/>
                  <a:pt x="6493945" y="3040177"/>
                </a:cubicBezTo>
                <a:cubicBezTo>
                  <a:pt x="6489275" y="3041174"/>
                  <a:pt x="6488277" y="3036503"/>
                  <a:pt x="6487279" y="3031831"/>
                </a:cubicBezTo>
                <a:cubicBezTo>
                  <a:pt x="6490952" y="3026163"/>
                  <a:pt x="6487959" y="3012150"/>
                  <a:pt x="6485963" y="3002807"/>
                </a:cubicBezTo>
                <a:close/>
                <a:moveTo>
                  <a:pt x="2135961" y="2977892"/>
                </a:moveTo>
                <a:lnTo>
                  <a:pt x="2135002" y="2982694"/>
                </a:lnTo>
                <a:lnTo>
                  <a:pt x="2136350" y="2985028"/>
                </a:lnTo>
                <a:cubicBezTo>
                  <a:pt x="2137229" y="2981748"/>
                  <a:pt x="2138107" y="2978468"/>
                  <a:pt x="2138107" y="2978468"/>
                </a:cubicBezTo>
                <a:close/>
                <a:moveTo>
                  <a:pt x="1530525" y="2870743"/>
                </a:moveTo>
                <a:lnTo>
                  <a:pt x="1530389" y="2874680"/>
                </a:lnTo>
                <a:cubicBezTo>
                  <a:pt x="1530389" y="2874680"/>
                  <a:pt x="1530389" y="2874680"/>
                  <a:pt x="1526716" y="2880348"/>
                </a:cubicBezTo>
                <a:close/>
                <a:moveTo>
                  <a:pt x="1549890" y="2806826"/>
                </a:moveTo>
                <a:lnTo>
                  <a:pt x="1550113" y="2806971"/>
                </a:lnTo>
                <a:lnTo>
                  <a:pt x="1549629" y="2807814"/>
                </a:lnTo>
                <a:close/>
                <a:moveTo>
                  <a:pt x="2190201" y="2770932"/>
                </a:moveTo>
                <a:cubicBezTo>
                  <a:pt x="2189323" y="2774211"/>
                  <a:pt x="2189323" y="2774211"/>
                  <a:pt x="2189323" y="2774211"/>
                </a:cubicBezTo>
                <a:cubicBezTo>
                  <a:pt x="2189323" y="2774211"/>
                  <a:pt x="2189323" y="2774211"/>
                  <a:pt x="2188443" y="2777491"/>
                </a:cubicBezTo>
                <a:cubicBezTo>
                  <a:pt x="2187564" y="2780772"/>
                  <a:pt x="2185806" y="2787331"/>
                  <a:pt x="2184927" y="2790612"/>
                </a:cubicBezTo>
                <a:lnTo>
                  <a:pt x="2181290" y="2797164"/>
                </a:lnTo>
                <a:close/>
                <a:moveTo>
                  <a:pt x="6368398" y="2681145"/>
                </a:moveTo>
                <a:cubicBezTo>
                  <a:pt x="6374068" y="2684818"/>
                  <a:pt x="6375065" y="2689491"/>
                  <a:pt x="6376065" y="2694161"/>
                </a:cubicBezTo>
                <a:cubicBezTo>
                  <a:pt x="6376065" y="2694161"/>
                  <a:pt x="6376065" y="2694161"/>
                  <a:pt x="6377063" y="2698832"/>
                </a:cubicBezTo>
                <a:cubicBezTo>
                  <a:pt x="6378061" y="2703503"/>
                  <a:pt x="6378061" y="2703503"/>
                  <a:pt x="6378061" y="2703503"/>
                </a:cubicBezTo>
                <a:lnTo>
                  <a:pt x="6379057" y="2708174"/>
                </a:lnTo>
                <a:cubicBezTo>
                  <a:pt x="6379057" y="2708174"/>
                  <a:pt x="6378061" y="2703503"/>
                  <a:pt x="6372391" y="2699831"/>
                </a:cubicBezTo>
                <a:cubicBezTo>
                  <a:pt x="6370395" y="2690488"/>
                  <a:pt x="6369397" y="2685816"/>
                  <a:pt x="6368398" y="2681145"/>
                </a:cubicBezTo>
                <a:close/>
                <a:moveTo>
                  <a:pt x="1615952" y="2612189"/>
                </a:moveTo>
                <a:cubicBezTo>
                  <a:pt x="1616951" y="2616860"/>
                  <a:pt x="1616951" y="2616860"/>
                  <a:pt x="1617948" y="2621531"/>
                </a:cubicBezTo>
                <a:cubicBezTo>
                  <a:pt x="1605931" y="2633867"/>
                  <a:pt x="1597227" y="2684569"/>
                  <a:pt x="1578861" y="2712914"/>
                </a:cubicBezTo>
                <a:cubicBezTo>
                  <a:pt x="1581695" y="2714750"/>
                  <a:pt x="1579270" y="2726259"/>
                  <a:pt x="1573966" y="2741433"/>
                </a:cubicBezTo>
                <a:lnTo>
                  <a:pt x="1556905" y="2780304"/>
                </a:lnTo>
                <a:lnTo>
                  <a:pt x="1579289" y="2695699"/>
                </a:lnTo>
                <a:lnTo>
                  <a:pt x="1595842" y="2645791"/>
                </a:lnTo>
                <a:lnTo>
                  <a:pt x="1603256" y="2644207"/>
                </a:lnTo>
                <a:cubicBezTo>
                  <a:pt x="1605931" y="2633867"/>
                  <a:pt x="1608607" y="2623526"/>
                  <a:pt x="1612279" y="2617859"/>
                </a:cubicBezTo>
                <a:cubicBezTo>
                  <a:pt x="1612279" y="2617859"/>
                  <a:pt x="1615952" y="2612189"/>
                  <a:pt x="1615952" y="2612189"/>
                </a:cubicBezTo>
                <a:close/>
                <a:moveTo>
                  <a:pt x="1613956" y="2602847"/>
                </a:moveTo>
                <a:cubicBezTo>
                  <a:pt x="1614953" y="2607518"/>
                  <a:pt x="1610283" y="2608515"/>
                  <a:pt x="1611280" y="2613188"/>
                </a:cubicBezTo>
                <a:cubicBezTo>
                  <a:pt x="1606611" y="2614185"/>
                  <a:pt x="1607608" y="2618857"/>
                  <a:pt x="1607608" y="2618857"/>
                </a:cubicBezTo>
                <a:lnTo>
                  <a:pt x="1599798" y="2633861"/>
                </a:lnTo>
                <a:lnTo>
                  <a:pt x="1607087" y="2611884"/>
                </a:lnTo>
                <a:lnTo>
                  <a:pt x="1610283" y="2608515"/>
                </a:lnTo>
                <a:lnTo>
                  <a:pt x="1609003" y="2606107"/>
                </a:lnTo>
                <a:lnTo>
                  <a:pt x="1609622" y="2604236"/>
                </a:lnTo>
                <a:close/>
                <a:moveTo>
                  <a:pt x="1612438" y="2595743"/>
                </a:moveTo>
                <a:lnTo>
                  <a:pt x="1612958" y="2598177"/>
                </a:lnTo>
                <a:lnTo>
                  <a:pt x="1611136" y="2599671"/>
                </a:lnTo>
                <a:close/>
                <a:moveTo>
                  <a:pt x="1622980" y="2576498"/>
                </a:moveTo>
                <a:cubicBezTo>
                  <a:pt x="1622980" y="2576498"/>
                  <a:pt x="1619308" y="2582167"/>
                  <a:pt x="1620306" y="2586839"/>
                </a:cubicBezTo>
                <a:cubicBezTo>
                  <a:pt x="1620306" y="2586839"/>
                  <a:pt x="1620306" y="2586839"/>
                  <a:pt x="1619308" y="2582167"/>
                </a:cubicBezTo>
                <a:lnTo>
                  <a:pt x="1616762" y="2582712"/>
                </a:lnTo>
                <a:lnTo>
                  <a:pt x="1618505" y="2577454"/>
                </a:lnTo>
                <a:close/>
                <a:moveTo>
                  <a:pt x="1649502" y="2499886"/>
                </a:moveTo>
                <a:lnTo>
                  <a:pt x="1648634" y="2503325"/>
                </a:lnTo>
                <a:cubicBezTo>
                  <a:pt x="1646391" y="2513192"/>
                  <a:pt x="1649461" y="2506126"/>
                  <a:pt x="1655719" y="2501126"/>
                </a:cubicBezTo>
                <a:cubicBezTo>
                  <a:pt x="1639350" y="2538812"/>
                  <a:pt x="1640347" y="2543482"/>
                  <a:pt x="1625655" y="2566159"/>
                </a:cubicBezTo>
                <a:lnTo>
                  <a:pt x="1621993" y="2566942"/>
                </a:lnTo>
                <a:lnTo>
                  <a:pt x="1623115" y="2563555"/>
                </a:lnTo>
                <a:close/>
                <a:moveTo>
                  <a:pt x="2319373" y="2498792"/>
                </a:moveTo>
                <a:lnTo>
                  <a:pt x="2303814" y="2500188"/>
                </a:lnTo>
                <a:cubicBezTo>
                  <a:pt x="2298499" y="2503283"/>
                  <a:pt x="2294412" y="2509011"/>
                  <a:pt x="2290837" y="2517807"/>
                </a:cubicBezTo>
                <a:cubicBezTo>
                  <a:pt x="2265509" y="2577535"/>
                  <a:pt x="2239517" y="2637059"/>
                  <a:pt x="2215875" y="2697450"/>
                </a:cubicBezTo>
                <a:lnTo>
                  <a:pt x="2209226" y="2715686"/>
                </a:lnTo>
                <a:lnTo>
                  <a:pt x="2208765" y="2718664"/>
                </a:lnTo>
                <a:cubicBezTo>
                  <a:pt x="2205398" y="2730616"/>
                  <a:pt x="2197993" y="2748408"/>
                  <a:pt x="2202915" y="2749726"/>
                </a:cubicBezTo>
                <a:lnTo>
                  <a:pt x="2202035" y="2753007"/>
                </a:lnTo>
                <a:cubicBezTo>
                  <a:pt x="2197877" y="2755408"/>
                  <a:pt x="2196118" y="2761968"/>
                  <a:pt x="2195240" y="2765248"/>
                </a:cubicBezTo>
                <a:cubicBezTo>
                  <a:pt x="2191960" y="2764370"/>
                  <a:pt x="2191960" y="2764370"/>
                  <a:pt x="2191960" y="2764370"/>
                </a:cubicBezTo>
                <a:lnTo>
                  <a:pt x="2191515" y="2764250"/>
                </a:lnTo>
                <a:lnTo>
                  <a:pt x="2182554" y="2788823"/>
                </a:lnTo>
                <a:lnTo>
                  <a:pt x="2178751" y="2801737"/>
                </a:lnTo>
                <a:lnTo>
                  <a:pt x="2181290" y="2797164"/>
                </a:lnTo>
                <a:lnTo>
                  <a:pt x="2172327" y="2823555"/>
                </a:lnTo>
                <a:lnTo>
                  <a:pt x="2164219" y="2851082"/>
                </a:lnTo>
                <a:lnTo>
                  <a:pt x="2161835" y="2861828"/>
                </a:lnTo>
                <a:cubicBezTo>
                  <a:pt x="2160677" y="2867176"/>
                  <a:pt x="2159674" y="2871740"/>
                  <a:pt x="2158794" y="2875021"/>
                </a:cubicBezTo>
                <a:cubicBezTo>
                  <a:pt x="2158794" y="2875021"/>
                  <a:pt x="2157915" y="2878301"/>
                  <a:pt x="2157915" y="2878301"/>
                </a:cubicBezTo>
                <a:lnTo>
                  <a:pt x="2148821" y="2913407"/>
                </a:lnTo>
                <a:lnTo>
                  <a:pt x="2139494" y="2960172"/>
                </a:lnTo>
                <a:lnTo>
                  <a:pt x="2142037" y="2950680"/>
                </a:lnTo>
                <a:cubicBezTo>
                  <a:pt x="2148670" y="2925925"/>
                  <a:pt x="2153944" y="2906242"/>
                  <a:pt x="2161195" y="2879181"/>
                </a:cubicBezTo>
                <a:cubicBezTo>
                  <a:pt x="2163598" y="2883339"/>
                  <a:pt x="2164476" y="2880059"/>
                  <a:pt x="2168636" y="2877658"/>
                </a:cubicBezTo>
                <a:cubicBezTo>
                  <a:pt x="2169514" y="2874377"/>
                  <a:pt x="2169514" y="2874377"/>
                  <a:pt x="2169514" y="2874377"/>
                </a:cubicBezTo>
                <a:cubicBezTo>
                  <a:pt x="2166235" y="2873499"/>
                  <a:pt x="2166235" y="2873499"/>
                  <a:pt x="2166235" y="2873499"/>
                </a:cubicBezTo>
                <a:cubicBezTo>
                  <a:pt x="2170865" y="2843097"/>
                  <a:pt x="2191897" y="2817090"/>
                  <a:pt x="2184693" y="2804613"/>
                </a:cubicBezTo>
                <a:cubicBezTo>
                  <a:pt x="2181412" y="2803733"/>
                  <a:pt x="2181412" y="2803733"/>
                  <a:pt x="2181412" y="2803733"/>
                </a:cubicBezTo>
                <a:cubicBezTo>
                  <a:pt x="2185571" y="2801333"/>
                  <a:pt x="2187329" y="2794772"/>
                  <a:pt x="2188209" y="2791491"/>
                </a:cubicBezTo>
                <a:cubicBezTo>
                  <a:pt x="2189087" y="2788211"/>
                  <a:pt x="2189966" y="2784930"/>
                  <a:pt x="2189966" y="2784930"/>
                </a:cubicBezTo>
                <a:cubicBezTo>
                  <a:pt x="2193245" y="2785808"/>
                  <a:pt x="2199806" y="2787568"/>
                  <a:pt x="2202207" y="2791725"/>
                </a:cubicBezTo>
                <a:cubicBezTo>
                  <a:pt x="2201328" y="2795006"/>
                  <a:pt x="2199570" y="2801568"/>
                  <a:pt x="2198691" y="2804847"/>
                </a:cubicBezTo>
                <a:cubicBezTo>
                  <a:pt x="2196934" y="2811408"/>
                  <a:pt x="2191897" y="2817090"/>
                  <a:pt x="2193417" y="2824530"/>
                </a:cubicBezTo>
                <a:cubicBezTo>
                  <a:pt x="2193417" y="2824530"/>
                  <a:pt x="2192539" y="2827809"/>
                  <a:pt x="2192539" y="2827809"/>
                </a:cubicBezTo>
                <a:cubicBezTo>
                  <a:pt x="2192539" y="2827809"/>
                  <a:pt x="2192539" y="2827809"/>
                  <a:pt x="2191660" y="2831090"/>
                </a:cubicBezTo>
                <a:cubicBezTo>
                  <a:pt x="2190780" y="2834370"/>
                  <a:pt x="2190780" y="2834370"/>
                  <a:pt x="2189902" y="2837650"/>
                </a:cubicBezTo>
                <a:cubicBezTo>
                  <a:pt x="2189023" y="2840931"/>
                  <a:pt x="2189023" y="2840931"/>
                  <a:pt x="2189023" y="2840931"/>
                </a:cubicBezTo>
                <a:lnTo>
                  <a:pt x="2189696" y="2840543"/>
                </a:lnTo>
                <a:lnTo>
                  <a:pt x="2208348" y="2778797"/>
                </a:lnTo>
                <a:lnTo>
                  <a:pt x="2211622" y="2769653"/>
                </a:lnTo>
                <a:lnTo>
                  <a:pt x="2207481" y="2772046"/>
                </a:lnTo>
                <a:cubicBezTo>
                  <a:pt x="2203965" y="2785166"/>
                  <a:pt x="2203965" y="2785166"/>
                  <a:pt x="2203965" y="2785166"/>
                </a:cubicBezTo>
                <a:cubicBezTo>
                  <a:pt x="2201565" y="2781008"/>
                  <a:pt x="2195882" y="2775968"/>
                  <a:pt x="2192603" y="2775089"/>
                </a:cubicBezTo>
                <a:cubicBezTo>
                  <a:pt x="2193481" y="2771810"/>
                  <a:pt x="2194361" y="2768530"/>
                  <a:pt x="2194361" y="2768530"/>
                </a:cubicBezTo>
                <a:cubicBezTo>
                  <a:pt x="2195240" y="2765248"/>
                  <a:pt x="2195240" y="2765248"/>
                  <a:pt x="2195240" y="2765248"/>
                </a:cubicBezTo>
                <a:cubicBezTo>
                  <a:pt x="2197641" y="2769408"/>
                  <a:pt x="2197641" y="2769408"/>
                  <a:pt x="2197641" y="2769408"/>
                </a:cubicBezTo>
                <a:cubicBezTo>
                  <a:pt x="2197641" y="2769408"/>
                  <a:pt x="2198519" y="2766127"/>
                  <a:pt x="2201800" y="2767006"/>
                </a:cubicBezTo>
                <a:cubicBezTo>
                  <a:pt x="2202679" y="2763726"/>
                  <a:pt x="2199399" y="2762848"/>
                  <a:pt x="2200278" y="2759567"/>
                </a:cubicBezTo>
                <a:cubicBezTo>
                  <a:pt x="2200278" y="2759567"/>
                  <a:pt x="2201156" y="2756287"/>
                  <a:pt x="2201156" y="2756287"/>
                </a:cubicBezTo>
                <a:cubicBezTo>
                  <a:pt x="2202035" y="2753007"/>
                  <a:pt x="2206194" y="2750606"/>
                  <a:pt x="2207953" y="2744045"/>
                </a:cubicBezTo>
                <a:cubicBezTo>
                  <a:pt x="2211468" y="2730923"/>
                  <a:pt x="2210354" y="2748205"/>
                  <a:pt x="2216271" y="2739241"/>
                </a:cubicBezTo>
                <a:cubicBezTo>
                  <a:pt x="2211468" y="2730923"/>
                  <a:pt x="2220665" y="2722840"/>
                  <a:pt x="2225703" y="2717159"/>
                </a:cubicBezTo>
                <a:cubicBezTo>
                  <a:pt x="2222423" y="2716280"/>
                  <a:pt x="2219144" y="2715402"/>
                  <a:pt x="2220022" y="2712121"/>
                </a:cubicBezTo>
                <a:cubicBezTo>
                  <a:pt x="2223302" y="2712999"/>
                  <a:pt x="2226583" y="2713879"/>
                  <a:pt x="2227462" y="2710598"/>
                </a:cubicBezTo>
                <a:cubicBezTo>
                  <a:pt x="2225060" y="2706440"/>
                  <a:pt x="2227696" y="2696598"/>
                  <a:pt x="2229455" y="2690037"/>
                </a:cubicBezTo>
                <a:cubicBezTo>
                  <a:pt x="2235137" y="2695076"/>
                  <a:pt x="2241290" y="2672114"/>
                  <a:pt x="2238887" y="2667954"/>
                </a:cubicBezTo>
                <a:cubicBezTo>
                  <a:pt x="2239767" y="2664674"/>
                  <a:pt x="2239767" y="2664674"/>
                  <a:pt x="2239767" y="2664674"/>
                </a:cubicBezTo>
                <a:cubicBezTo>
                  <a:pt x="2242404" y="2654833"/>
                  <a:pt x="2246328" y="2666432"/>
                  <a:pt x="2248965" y="2656591"/>
                </a:cubicBezTo>
                <a:cubicBezTo>
                  <a:pt x="2247442" y="2649152"/>
                  <a:pt x="2245041" y="2644992"/>
                  <a:pt x="2252715" y="2629469"/>
                </a:cubicBezTo>
                <a:cubicBezTo>
                  <a:pt x="2257755" y="2623789"/>
                  <a:pt x="2263670" y="2614826"/>
                  <a:pt x="2266307" y="2604985"/>
                </a:cubicBezTo>
                <a:cubicBezTo>
                  <a:pt x="2267187" y="2601706"/>
                  <a:pt x="2268944" y="2595145"/>
                  <a:pt x="2273104" y="2592744"/>
                </a:cubicBezTo>
                <a:cubicBezTo>
                  <a:pt x="2281658" y="2573941"/>
                  <a:pt x="2277264" y="2590343"/>
                  <a:pt x="2287340" y="2578980"/>
                </a:cubicBezTo>
                <a:cubicBezTo>
                  <a:pt x="2284295" y="2564099"/>
                  <a:pt x="2314524" y="2530009"/>
                  <a:pt x="2314759" y="2516010"/>
                </a:cubicBezTo>
                <a:cubicBezTo>
                  <a:pt x="2304684" y="2527372"/>
                  <a:pt x="2318274" y="2502889"/>
                  <a:pt x="2318274" y="2502889"/>
                </a:cubicBezTo>
                <a:close/>
                <a:moveTo>
                  <a:pt x="1745743" y="2277280"/>
                </a:moveTo>
                <a:lnTo>
                  <a:pt x="1746544" y="2277481"/>
                </a:lnTo>
                <a:lnTo>
                  <a:pt x="1735073" y="2301013"/>
                </a:lnTo>
                <a:cubicBezTo>
                  <a:pt x="1725969" y="2321274"/>
                  <a:pt x="1718702" y="2338701"/>
                  <a:pt x="1715529" y="2346705"/>
                </a:cubicBezTo>
                <a:cubicBezTo>
                  <a:pt x="1713852" y="2361715"/>
                  <a:pt x="1680793" y="2412737"/>
                  <a:pt x="1682110" y="2441760"/>
                </a:cubicBezTo>
                <a:cubicBezTo>
                  <a:pt x="1673767" y="2448427"/>
                  <a:pt x="1676442" y="2438087"/>
                  <a:pt x="1676442" y="2438087"/>
                </a:cubicBezTo>
                <a:cubicBezTo>
                  <a:pt x="1675604" y="2445593"/>
                  <a:pt x="1670841" y="2457600"/>
                  <a:pt x="1665372" y="2469147"/>
                </a:cubicBezTo>
                <a:lnTo>
                  <a:pt x="1652015" y="2493822"/>
                </a:lnTo>
                <a:lnTo>
                  <a:pt x="1729501" y="2306860"/>
                </a:lnTo>
                <a:cubicBezTo>
                  <a:pt x="1732137" y="2300212"/>
                  <a:pt x="1734774" y="2293566"/>
                  <a:pt x="1737409" y="2286918"/>
                </a:cubicBezTo>
                <a:cubicBezTo>
                  <a:pt x="1739489" y="2282418"/>
                  <a:pt x="1742262" y="2278784"/>
                  <a:pt x="1745743" y="2277280"/>
                </a:cubicBezTo>
                <a:close/>
                <a:moveTo>
                  <a:pt x="2406271" y="2140812"/>
                </a:moveTo>
                <a:lnTo>
                  <a:pt x="2381400" y="2172178"/>
                </a:lnTo>
                <a:cubicBezTo>
                  <a:pt x="2373073" y="2183571"/>
                  <a:pt x="2365897" y="2193952"/>
                  <a:pt x="2360419" y="2201275"/>
                </a:cubicBezTo>
                <a:cubicBezTo>
                  <a:pt x="2331713" y="2242804"/>
                  <a:pt x="2302362" y="2273613"/>
                  <a:pt x="2279573" y="2306181"/>
                </a:cubicBezTo>
                <a:cubicBezTo>
                  <a:pt x="2265981" y="2330665"/>
                  <a:pt x="2246471" y="2364112"/>
                  <a:pt x="2232000" y="2391875"/>
                </a:cubicBezTo>
                <a:cubicBezTo>
                  <a:pt x="2217764" y="2405641"/>
                  <a:pt x="2208331" y="2427724"/>
                  <a:pt x="2198898" y="2449807"/>
                </a:cubicBezTo>
                <a:cubicBezTo>
                  <a:pt x="2186422" y="2457011"/>
                  <a:pt x="2171071" y="2488057"/>
                  <a:pt x="2155721" y="2519101"/>
                </a:cubicBezTo>
                <a:cubicBezTo>
                  <a:pt x="2140372" y="2550147"/>
                  <a:pt x="2125021" y="2581191"/>
                  <a:pt x="2112543" y="2588395"/>
                </a:cubicBezTo>
                <a:cubicBezTo>
                  <a:pt x="2109906" y="2598236"/>
                  <a:pt x="2102231" y="2613758"/>
                  <a:pt x="2098073" y="2616160"/>
                </a:cubicBezTo>
                <a:cubicBezTo>
                  <a:pt x="2101995" y="2627759"/>
                  <a:pt x="2085767" y="2662085"/>
                  <a:pt x="2078328" y="2663606"/>
                </a:cubicBezTo>
                <a:cubicBezTo>
                  <a:pt x="2077448" y="2666887"/>
                  <a:pt x="2075691" y="2673447"/>
                  <a:pt x="2074811" y="2676728"/>
                </a:cubicBezTo>
                <a:cubicBezTo>
                  <a:pt x="2064970" y="2674091"/>
                  <a:pt x="2063622" y="2705371"/>
                  <a:pt x="2050908" y="2726574"/>
                </a:cubicBezTo>
                <a:cubicBezTo>
                  <a:pt x="2050028" y="2729856"/>
                  <a:pt x="2050028" y="2729856"/>
                  <a:pt x="2050028" y="2729856"/>
                </a:cubicBezTo>
                <a:cubicBezTo>
                  <a:pt x="2050028" y="2729856"/>
                  <a:pt x="2046748" y="2728977"/>
                  <a:pt x="2046748" y="2728977"/>
                </a:cubicBezTo>
                <a:cubicBezTo>
                  <a:pt x="2045870" y="2732257"/>
                  <a:pt x="2045870" y="2732257"/>
                  <a:pt x="2044991" y="2735538"/>
                </a:cubicBezTo>
                <a:cubicBezTo>
                  <a:pt x="2044991" y="2735538"/>
                  <a:pt x="2044991" y="2735538"/>
                  <a:pt x="2048271" y="2736415"/>
                </a:cubicBezTo>
                <a:cubicBezTo>
                  <a:pt x="2048271" y="2736415"/>
                  <a:pt x="2049149" y="2733136"/>
                  <a:pt x="2049149" y="2733136"/>
                </a:cubicBezTo>
                <a:cubicBezTo>
                  <a:pt x="2047392" y="2739696"/>
                  <a:pt x="2044755" y="2749537"/>
                  <a:pt x="2048035" y="2750415"/>
                </a:cubicBezTo>
                <a:cubicBezTo>
                  <a:pt x="2026533" y="2804424"/>
                  <a:pt x="2008310" y="2859309"/>
                  <a:pt x="1995770" y="2919234"/>
                </a:cubicBezTo>
                <a:cubicBezTo>
                  <a:pt x="1992897" y="2943075"/>
                  <a:pt x="1988501" y="2959475"/>
                  <a:pt x="1981470" y="2985718"/>
                </a:cubicBezTo>
                <a:cubicBezTo>
                  <a:pt x="1976840" y="3016119"/>
                  <a:pt x="1971976" y="3060521"/>
                  <a:pt x="1964707" y="3100763"/>
                </a:cubicBezTo>
                <a:cubicBezTo>
                  <a:pt x="1959841" y="3145164"/>
                  <a:pt x="1955856" y="3186286"/>
                  <a:pt x="1953626" y="3220847"/>
                </a:cubicBezTo>
                <a:cubicBezTo>
                  <a:pt x="1949875" y="3247969"/>
                  <a:pt x="1949639" y="3261969"/>
                  <a:pt x="1948288" y="3293249"/>
                </a:cubicBezTo>
                <a:cubicBezTo>
                  <a:pt x="1949811" y="3300688"/>
                  <a:pt x="1947174" y="3310529"/>
                  <a:pt x="1945417" y="3317092"/>
                </a:cubicBezTo>
                <a:cubicBezTo>
                  <a:pt x="1944301" y="3334371"/>
                  <a:pt x="1950626" y="3350128"/>
                  <a:pt x="1946232" y="3366530"/>
                </a:cubicBezTo>
                <a:cubicBezTo>
                  <a:pt x="1946232" y="3366530"/>
                  <a:pt x="1942952" y="3365651"/>
                  <a:pt x="1942952" y="3365651"/>
                </a:cubicBezTo>
                <a:cubicBezTo>
                  <a:pt x="1943831" y="3362372"/>
                  <a:pt x="1939671" y="3364773"/>
                  <a:pt x="1942074" y="3368931"/>
                </a:cubicBezTo>
                <a:cubicBezTo>
                  <a:pt x="1941194" y="3372213"/>
                  <a:pt x="1940315" y="3375492"/>
                  <a:pt x="1940315" y="3375492"/>
                </a:cubicBezTo>
                <a:cubicBezTo>
                  <a:pt x="1943595" y="3376371"/>
                  <a:pt x="1942716" y="3379652"/>
                  <a:pt x="1942716" y="3379652"/>
                </a:cubicBezTo>
                <a:cubicBezTo>
                  <a:pt x="1939437" y="3378772"/>
                  <a:pt x="1938557" y="3382053"/>
                  <a:pt x="1937678" y="3385333"/>
                </a:cubicBezTo>
                <a:cubicBezTo>
                  <a:pt x="1940079" y="3389492"/>
                  <a:pt x="1940958" y="3386211"/>
                  <a:pt x="1944239" y="3387091"/>
                </a:cubicBezTo>
                <a:cubicBezTo>
                  <a:pt x="1944239" y="3387091"/>
                  <a:pt x="1943359" y="3390371"/>
                  <a:pt x="1943359" y="3390371"/>
                </a:cubicBezTo>
                <a:cubicBezTo>
                  <a:pt x="1942481" y="3393652"/>
                  <a:pt x="1944882" y="3397810"/>
                  <a:pt x="1944882" y="3397810"/>
                </a:cubicBezTo>
                <a:cubicBezTo>
                  <a:pt x="1948161" y="3398690"/>
                  <a:pt x="1949041" y="3395409"/>
                  <a:pt x="1949920" y="3392128"/>
                </a:cubicBezTo>
                <a:cubicBezTo>
                  <a:pt x="1946640" y="3391250"/>
                  <a:pt x="1946640" y="3391250"/>
                  <a:pt x="1946640" y="3391250"/>
                </a:cubicBezTo>
                <a:cubicBezTo>
                  <a:pt x="1950798" y="3388848"/>
                  <a:pt x="1950798" y="3388848"/>
                  <a:pt x="1950798" y="3388848"/>
                </a:cubicBezTo>
                <a:cubicBezTo>
                  <a:pt x="1947048" y="3415971"/>
                  <a:pt x="1946341" y="3457970"/>
                  <a:pt x="1955068" y="3477887"/>
                </a:cubicBezTo>
                <a:cubicBezTo>
                  <a:pt x="1953718" y="3509167"/>
                  <a:pt x="1958692" y="3556207"/>
                  <a:pt x="1967593" y="3614845"/>
                </a:cubicBezTo>
                <a:cubicBezTo>
                  <a:pt x="1964311" y="3613965"/>
                  <a:pt x="1964311" y="3613965"/>
                  <a:pt x="1964311" y="3613965"/>
                </a:cubicBezTo>
                <a:cubicBezTo>
                  <a:pt x="1964311" y="3613965"/>
                  <a:pt x="1965190" y="3610685"/>
                  <a:pt x="1965190" y="3610685"/>
                </a:cubicBezTo>
                <a:cubicBezTo>
                  <a:pt x="1962788" y="3606525"/>
                  <a:pt x="1963667" y="3603245"/>
                  <a:pt x="1959509" y="3605646"/>
                </a:cubicBezTo>
                <a:cubicBezTo>
                  <a:pt x="1959509" y="3605646"/>
                  <a:pt x="1958629" y="3608926"/>
                  <a:pt x="1961030" y="3613086"/>
                </a:cubicBezTo>
                <a:cubicBezTo>
                  <a:pt x="1960151" y="3616366"/>
                  <a:pt x="1960151" y="3616366"/>
                  <a:pt x="1962553" y="3620525"/>
                </a:cubicBezTo>
                <a:cubicBezTo>
                  <a:pt x="1959273" y="3619647"/>
                  <a:pt x="1958393" y="3622927"/>
                  <a:pt x="1956636" y="3629487"/>
                </a:cubicBezTo>
                <a:cubicBezTo>
                  <a:pt x="1958276" y="3629926"/>
                  <a:pt x="1959916" y="3630366"/>
                  <a:pt x="1960956" y="3629767"/>
                </a:cubicBezTo>
                <a:lnTo>
                  <a:pt x="1961195" y="3627779"/>
                </a:lnTo>
                <a:lnTo>
                  <a:pt x="1965598" y="3635404"/>
                </a:lnTo>
                <a:cubicBezTo>
                  <a:pt x="1966476" y="3632124"/>
                  <a:pt x="1967355" y="3628843"/>
                  <a:pt x="1968235" y="3625564"/>
                </a:cubicBezTo>
                <a:cubicBezTo>
                  <a:pt x="1975438" y="3638041"/>
                  <a:pt x="1980241" y="3646361"/>
                  <a:pt x="1982406" y="3664519"/>
                </a:cubicBezTo>
                <a:cubicBezTo>
                  <a:pt x="1980005" y="3660359"/>
                  <a:pt x="1979127" y="3663639"/>
                  <a:pt x="1978248" y="3666921"/>
                </a:cubicBezTo>
                <a:cubicBezTo>
                  <a:pt x="1980413" y="3685079"/>
                  <a:pt x="1992420" y="3705876"/>
                  <a:pt x="1993063" y="3716595"/>
                </a:cubicBezTo>
                <a:cubicBezTo>
                  <a:pt x="1993063" y="3716595"/>
                  <a:pt x="1989783" y="3715716"/>
                  <a:pt x="1990662" y="3712437"/>
                </a:cubicBezTo>
                <a:cubicBezTo>
                  <a:pt x="1994349" y="3738035"/>
                  <a:pt x="2006357" y="3758832"/>
                  <a:pt x="2000440" y="3767792"/>
                </a:cubicBezTo>
                <a:cubicBezTo>
                  <a:pt x="2001319" y="3764513"/>
                  <a:pt x="2003721" y="3768672"/>
                  <a:pt x="2002841" y="3771952"/>
                </a:cubicBezTo>
                <a:cubicBezTo>
                  <a:pt x="2010925" y="3781150"/>
                  <a:pt x="2005477" y="3762112"/>
                  <a:pt x="2006357" y="3758832"/>
                </a:cubicBezTo>
                <a:cubicBezTo>
                  <a:pt x="2010925" y="3781150"/>
                  <a:pt x="2009166" y="3787711"/>
                  <a:pt x="2017248" y="3796907"/>
                </a:cubicBezTo>
                <a:cubicBezTo>
                  <a:pt x="2013090" y="3799309"/>
                  <a:pt x="2008288" y="3790991"/>
                  <a:pt x="2012210" y="3802590"/>
                </a:cubicBezTo>
                <a:cubicBezTo>
                  <a:pt x="2017892" y="3807629"/>
                  <a:pt x="2015491" y="3803468"/>
                  <a:pt x="2020293" y="3811786"/>
                </a:cubicBezTo>
                <a:cubicBezTo>
                  <a:pt x="2023573" y="3812666"/>
                  <a:pt x="2022695" y="3815946"/>
                  <a:pt x="2022695" y="3815946"/>
                </a:cubicBezTo>
                <a:cubicBezTo>
                  <a:pt x="2025096" y="3820106"/>
                  <a:pt x="2024217" y="3823386"/>
                  <a:pt x="2027497" y="3824264"/>
                </a:cubicBezTo>
                <a:cubicBezTo>
                  <a:pt x="2030778" y="3825144"/>
                  <a:pt x="2031657" y="3821863"/>
                  <a:pt x="2029256" y="3817704"/>
                </a:cubicBezTo>
                <a:cubicBezTo>
                  <a:pt x="2029256" y="3817704"/>
                  <a:pt x="2029256" y="3817704"/>
                  <a:pt x="2030134" y="3814423"/>
                </a:cubicBezTo>
                <a:cubicBezTo>
                  <a:pt x="2038626" y="3848341"/>
                  <a:pt x="2046708" y="3857538"/>
                  <a:pt x="2060002" y="3899774"/>
                </a:cubicBezTo>
                <a:cubicBezTo>
                  <a:pt x="2049926" y="3911137"/>
                  <a:pt x="2062403" y="3903934"/>
                  <a:pt x="2059530" y="3927774"/>
                </a:cubicBezTo>
                <a:cubicBezTo>
                  <a:pt x="2056251" y="3926896"/>
                  <a:pt x="2056251" y="3926896"/>
                  <a:pt x="2056251" y="3926896"/>
                </a:cubicBezTo>
                <a:cubicBezTo>
                  <a:pt x="2053849" y="3922736"/>
                  <a:pt x="2052969" y="3926018"/>
                  <a:pt x="2055372" y="3930176"/>
                </a:cubicBezTo>
                <a:cubicBezTo>
                  <a:pt x="2054492" y="3933457"/>
                  <a:pt x="2056893" y="3937615"/>
                  <a:pt x="2060174" y="3938494"/>
                </a:cubicBezTo>
                <a:cubicBezTo>
                  <a:pt x="2062575" y="3942653"/>
                  <a:pt x="2062575" y="3942653"/>
                  <a:pt x="2062575" y="3942653"/>
                </a:cubicBezTo>
                <a:cubicBezTo>
                  <a:pt x="2064098" y="3950093"/>
                  <a:pt x="2067378" y="3950971"/>
                  <a:pt x="2071537" y="3948570"/>
                </a:cubicBezTo>
                <a:cubicBezTo>
                  <a:pt x="2069779" y="3955131"/>
                  <a:pt x="2075461" y="3960170"/>
                  <a:pt x="2077862" y="3964329"/>
                </a:cubicBezTo>
                <a:cubicBezTo>
                  <a:pt x="2076340" y="3956889"/>
                  <a:pt x="2074817" y="3949450"/>
                  <a:pt x="2073296" y="3942009"/>
                </a:cubicBezTo>
                <a:cubicBezTo>
                  <a:pt x="2070015" y="3941131"/>
                  <a:pt x="2066735" y="3940252"/>
                  <a:pt x="2066735" y="3940252"/>
                </a:cubicBezTo>
                <a:cubicBezTo>
                  <a:pt x="2066735" y="3940252"/>
                  <a:pt x="2067614" y="3936973"/>
                  <a:pt x="2064334" y="3936093"/>
                </a:cubicBezTo>
                <a:cubicBezTo>
                  <a:pt x="2064334" y="3936093"/>
                  <a:pt x="2065212" y="3932813"/>
                  <a:pt x="2065212" y="3932813"/>
                </a:cubicBezTo>
                <a:cubicBezTo>
                  <a:pt x="2066091" y="3929533"/>
                  <a:pt x="2062811" y="3928653"/>
                  <a:pt x="2059530" y="3927774"/>
                </a:cubicBezTo>
                <a:cubicBezTo>
                  <a:pt x="2070485" y="3913130"/>
                  <a:pt x="2072479" y="3892570"/>
                  <a:pt x="2055670" y="3863455"/>
                </a:cubicBezTo>
                <a:cubicBezTo>
                  <a:pt x="2056550" y="3860175"/>
                  <a:pt x="2054147" y="3856016"/>
                  <a:pt x="2057428" y="3856895"/>
                </a:cubicBezTo>
                <a:cubicBezTo>
                  <a:pt x="2056550" y="3860175"/>
                  <a:pt x="2059829" y="3861055"/>
                  <a:pt x="2060708" y="3857775"/>
                </a:cubicBezTo>
                <a:cubicBezTo>
                  <a:pt x="2060708" y="3857775"/>
                  <a:pt x="2060708" y="3857775"/>
                  <a:pt x="2058307" y="3853615"/>
                </a:cubicBezTo>
                <a:cubicBezTo>
                  <a:pt x="2058307" y="3853615"/>
                  <a:pt x="2059185" y="3850335"/>
                  <a:pt x="2059185" y="3850335"/>
                </a:cubicBezTo>
                <a:cubicBezTo>
                  <a:pt x="2066830" y="3861173"/>
                  <a:pt x="2072013" y="3871351"/>
                  <a:pt x="2075527" y="3882839"/>
                </a:cubicBezTo>
                <a:lnTo>
                  <a:pt x="2081274" y="3919538"/>
                </a:lnTo>
                <a:lnTo>
                  <a:pt x="2079447" y="3919048"/>
                </a:lnTo>
                <a:cubicBezTo>
                  <a:pt x="2078568" y="3922330"/>
                  <a:pt x="2078568" y="3922330"/>
                  <a:pt x="2081850" y="3923208"/>
                </a:cubicBezTo>
                <a:cubicBezTo>
                  <a:pt x="2080091" y="3929767"/>
                  <a:pt x="2083371" y="3930646"/>
                  <a:pt x="2084894" y="3938087"/>
                </a:cubicBezTo>
                <a:cubicBezTo>
                  <a:pt x="2084894" y="3938087"/>
                  <a:pt x="2081612" y="3937209"/>
                  <a:pt x="2082492" y="3933927"/>
                </a:cubicBezTo>
                <a:cubicBezTo>
                  <a:pt x="2082492" y="3933927"/>
                  <a:pt x="2081612" y="3937209"/>
                  <a:pt x="2081612" y="3937209"/>
                </a:cubicBezTo>
                <a:cubicBezTo>
                  <a:pt x="2081612" y="3937209"/>
                  <a:pt x="2084015" y="3941367"/>
                  <a:pt x="2084015" y="3941367"/>
                </a:cubicBezTo>
                <a:cubicBezTo>
                  <a:pt x="2088582" y="3963685"/>
                  <a:pt x="2084187" y="3980086"/>
                  <a:pt x="2096193" y="4000883"/>
                </a:cubicBezTo>
                <a:cubicBezTo>
                  <a:pt x="2091391" y="3992564"/>
                  <a:pt x="2092913" y="4000005"/>
                  <a:pt x="2091155" y="4006565"/>
                </a:cubicBezTo>
                <a:cubicBezTo>
                  <a:pt x="2083952" y="3994087"/>
                  <a:pt x="2086589" y="3984246"/>
                  <a:pt x="2079149" y="3985769"/>
                </a:cubicBezTo>
                <a:cubicBezTo>
                  <a:pt x="2090276" y="4009844"/>
                  <a:pt x="2096601" y="4025603"/>
                  <a:pt x="2105093" y="4059520"/>
                </a:cubicBezTo>
                <a:cubicBezTo>
                  <a:pt x="2101812" y="4058642"/>
                  <a:pt x="2104213" y="4062800"/>
                  <a:pt x="2103334" y="4066081"/>
                </a:cubicBezTo>
                <a:cubicBezTo>
                  <a:pt x="2105736" y="4070241"/>
                  <a:pt x="2108137" y="4074399"/>
                  <a:pt x="2109017" y="4071119"/>
                </a:cubicBezTo>
                <a:cubicBezTo>
                  <a:pt x="2110538" y="4078557"/>
                  <a:pt x="2116220" y="4083597"/>
                  <a:pt x="2124302" y="4092795"/>
                </a:cubicBezTo>
                <a:cubicBezTo>
                  <a:pt x="2120144" y="4095196"/>
                  <a:pt x="2115340" y="4086877"/>
                  <a:pt x="2116863" y="4094316"/>
                </a:cubicBezTo>
                <a:cubicBezTo>
                  <a:pt x="2120144" y="4095196"/>
                  <a:pt x="2121665" y="4102634"/>
                  <a:pt x="2124946" y="4103514"/>
                </a:cubicBezTo>
                <a:cubicBezTo>
                  <a:pt x="2124946" y="4103514"/>
                  <a:pt x="2124068" y="4106796"/>
                  <a:pt x="2127347" y="4107674"/>
                </a:cubicBezTo>
                <a:cubicBezTo>
                  <a:pt x="2126469" y="4110953"/>
                  <a:pt x="2126469" y="4110953"/>
                  <a:pt x="2126469" y="4110953"/>
                </a:cubicBezTo>
                <a:cubicBezTo>
                  <a:pt x="2129749" y="4111834"/>
                  <a:pt x="2129749" y="4111834"/>
                  <a:pt x="2129749" y="4111834"/>
                </a:cubicBezTo>
                <a:cubicBezTo>
                  <a:pt x="2127347" y="4107674"/>
                  <a:pt x="2127347" y="4107674"/>
                  <a:pt x="2127347" y="4107674"/>
                </a:cubicBezTo>
                <a:cubicBezTo>
                  <a:pt x="2128226" y="4104393"/>
                  <a:pt x="2128226" y="4104393"/>
                  <a:pt x="2128226" y="4104393"/>
                </a:cubicBezTo>
                <a:cubicBezTo>
                  <a:pt x="2134551" y="4120150"/>
                  <a:pt x="2134551" y="4120150"/>
                  <a:pt x="2134551" y="4120150"/>
                </a:cubicBezTo>
                <a:cubicBezTo>
                  <a:pt x="2132150" y="4115992"/>
                  <a:pt x="2128870" y="4115113"/>
                  <a:pt x="2131272" y="4119272"/>
                </a:cubicBezTo>
                <a:cubicBezTo>
                  <a:pt x="2149602" y="4155826"/>
                  <a:pt x="2179533" y="4188456"/>
                  <a:pt x="2205304" y="4223489"/>
                </a:cubicBezTo>
                <a:cubicBezTo>
                  <a:pt x="2235233" y="4256119"/>
                  <a:pt x="2261885" y="4287869"/>
                  <a:pt x="2288534" y="4319621"/>
                </a:cubicBezTo>
                <a:cubicBezTo>
                  <a:pt x="2286776" y="4326183"/>
                  <a:pt x="2283495" y="4325304"/>
                  <a:pt x="2276936" y="4323545"/>
                </a:cubicBezTo>
                <a:cubicBezTo>
                  <a:pt x="2302064" y="4347856"/>
                  <a:pt x="2318229" y="4366253"/>
                  <a:pt x="2338554" y="4382245"/>
                </a:cubicBezTo>
                <a:cubicBezTo>
                  <a:pt x="2358000" y="4401520"/>
                  <a:pt x="2378325" y="4417513"/>
                  <a:pt x="2402574" y="4445104"/>
                </a:cubicBezTo>
                <a:cubicBezTo>
                  <a:pt x="2400173" y="4440946"/>
                  <a:pt x="2400173" y="4440946"/>
                  <a:pt x="2399295" y="4444226"/>
                </a:cubicBezTo>
                <a:cubicBezTo>
                  <a:pt x="2399295" y="4444226"/>
                  <a:pt x="2398414" y="4447507"/>
                  <a:pt x="2400815" y="4451665"/>
                </a:cubicBezTo>
                <a:cubicBezTo>
                  <a:pt x="2399937" y="4454946"/>
                  <a:pt x="2399937" y="4454946"/>
                  <a:pt x="2399937" y="4454946"/>
                </a:cubicBezTo>
                <a:cubicBezTo>
                  <a:pt x="2405619" y="4459984"/>
                  <a:pt x="2410421" y="4468302"/>
                  <a:pt x="2414581" y="4465901"/>
                </a:cubicBezTo>
                <a:cubicBezTo>
                  <a:pt x="2413701" y="4469181"/>
                  <a:pt x="2416102" y="4473341"/>
                  <a:pt x="2419383" y="4474219"/>
                </a:cubicBezTo>
                <a:cubicBezTo>
                  <a:pt x="2421785" y="4478379"/>
                  <a:pt x="2422665" y="4475099"/>
                  <a:pt x="2422665" y="4475099"/>
                </a:cubicBezTo>
                <a:cubicBezTo>
                  <a:pt x="2423543" y="4471818"/>
                  <a:pt x="2423543" y="4471818"/>
                  <a:pt x="2423543" y="4471818"/>
                </a:cubicBezTo>
                <a:cubicBezTo>
                  <a:pt x="2436427" y="4489334"/>
                  <a:pt x="2446268" y="4491971"/>
                  <a:pt x="2459154" y="4509487"/>
                </a:cubicBezTo>
                <a:cubicBezTo>
                  <a:pt x="2461791" y="4499646"/>
                  <a:pt x="2465714" y="4511245"/>
                  <a:pt x="2468994" y="4512124"/>
                </a:cubicBezTo>
                <a:cubicBezTo>
                  <a:pt x="2460913" y="4502926"/>
                  <a:pt x="2467473" y="4504684"/>
                  <a:pt x="2462671" y="4496365"/>
                </a:cubicBezTo>
                <a:cubicBezTo>
                  <a:pt x="2456989" y="4491328"/>
                  <a:pt x="2464194" y="4503806"/>
                  <a:pt x="2455230" y="4497888"/>
                </a:cubicBezTo>
                <a:cubicBezTo>
                  <a:pt x="2451306" y="4486290"/>
                  <a:pt x="2442344" y="4480372"/>
                  <a:pt x="2440823" y="4472932"/>
                </a:cubicBezTo>
                <a:cubicBezTo>
                  <a:pt x="2443224" y="4477092"/>
                  <a:pt x="2445625" y="4481252"/>
                  <a:pt x="2448905" y="4482130"/>
                </a:cubicBezTo>
                <a:cubicBezTo>
                  <a:pt x="2436021" y="4464614"/>
                  <a:pt x="2420734" y="4442939"/>
                  <a:pt x="2402166" y="4420385"/>
                </a:cubicBezTo>
                <a:cubicBezTo>
                  <a:pt x="2383599" y="4397831"/>
                  <a:pt x="2365032" y="4375276"/>
                  <a:pt x="2348865" y="4356882"/>
                </a:cubicBezTo>
                <a:cubicBezTo>
                  <a:pt x="2352147" y="4357761"/>
                  <a:pt x="2353025" y="4354481"/>
                  <a:pt x="2350624" y="4350321"/>
                </a:cubicBezTo>
                <a:cubicBezTo>
                  <a:pt x="2335337" y="4328647"/>
                  <a:pt x="2322451" y="4311131"/>
                  <a:pt x="2311324" y="4287054"/>
                </a:cubicBezTo>
                <a:cubicBezTo>
                  <a:pt x="2303885" y="4288577"/>
                  <a:pt x="2301719" y="4270417"/>
                  <a:pt x="2296917" y="4262099"/>
                </a:cubicBezTo>
                <a:cubicBezTo>
                  <a:pt x="2294514" y="4257939"/>
                  <a:pt x="2290356" y="4260340"/>
                  <a:pt x="2288833" y="4252901"/>
                </a:cubicBezTo>
                <a:cubicBezTo>
                  <a:pt x="2285552" y="4252022"/>
                  <a:pt x="2284909" y="4241302"/>
                  <a:pt x="2280107" y="4232984"/>
                </a:cubicBezTo>
                <a:cubicBezTo>
                  <a:pt x="2272902" y="4220507"/>
                  <a:pt x="2262419" y="4207150"/>
                  <a:pt x="2255216" y="4194671"/>
                </a:cubicBezTo>
                <a:cubicBezTo>
                  <a:pt x="2245609" y="4178035"/>
                  <a:pt x="2242330" y="4177155"/>
                  <a:pt x="2233602" y="4157238"/>
                </a:cubicBezTo>
                <a:cubicBezTo>
                  <a:pt x="2208711" y="4118927"/>
                  <a:pt x="2191494" y="4065092"/>
                  <a:pt x="2178608" y="4047576"/>
                </a:cubicBezTo>
                <a:cubicBezTo>
                  <a:pt x="2181245" y="4037736"/>
                  <a:pt x="2167482" y="4023500"/>
                  <a:pt x="2162677" y="4015182"/>
                </a:cubicBezTo>
                <a:cubicBezTo>
                  <a:pt x="2168360" y="4020220"/>
                  <a:pt x="2165958" y="4016061"/>
                  <a:pt x="2166837" y="4012780"/>
                </a:cubicBezTo>
                <a:cubicBezTo>
                  <a:pt x="2150027" y="3983666"/>
                  <a:pt x="2146576" y="3944067"/>
                  <a:pt x="2126722" y="3900073"/>
                </a:cubicBezTo>
                <a:cubicBezTo>
                  <a:pt x="2117115" y="3883437"/>
                  <a:pt x="2121040" y="3895035"/>
                  <a:pt x="2116473" y="3872717"/>
                </a:cubicBezTo>
                <a:cubicBezTo>
                  <a:pt x="2113428" y="3857837"/>
                  <a:pt x="2106223" y="3845361"/>
                  <a:pt x="2103179" y="3830480"/>
                </a:cubicBezTo>
                <a:cubicBezTo>
                  <a:pt x="2089243" y="3777526"/>
                  <a:pt x="2078585" y="3725448"/>
                  <a:pt x="2069451" y="3680812"/>
                </a:cubicBezTo>
                <a:cubicBezTo>
                  <a:pt x="2064005" y="3661772"/>
                  <a:pt x="2064241" y="3647773"/>
                  <a:pt x="2057037" y="3635295"/>
                </a:cubicBezTo>
                <a:cubicBezTo>
                  <a:pt x="2057916" y="3632014"/>
                  <a:pt x="2057916" y="3632014"/>
                  <a:pt x="2058794" y="3628734"/>
                </a:cubicBezTo>
                <a:cubicBezTo>
                  <a:pt x="2059674" y="3625453"/>
                  <a:pt x="2062311" y="3615613"/>
                  <a:pt x="2056865" y="3596574"/>
                </a:cubicBezTo>
                <a:cubicBezTo>
                  <a:pt x="2055343" y="3589135"/>
                  <a:pt x="2051419" y="3577537"/>
                  <a:pt x="2049896" y="3570096"/>
                </a:cubicBezTo>
                <a:cubicBezTo>
                  <a:pt x="2047966" y="3537937"/>
                  <a:pt x="2047794" y="3499218"/>
                  <a:pt x="2040589" y="3486740"/>
                </a:cubicBezTo>
                <a:cubicBezTo>
                  <a:pt x="2048673" y="3495938"/>
                  <a:pt x="2039538" y="3451300"/>
                  <a:pt x="2035615" y="3439701"/>
                </a:cubicBezTo>
                <a:cubicBezTo>
                  <a:pt x="2042412" y="3427459"/>
                  <a:pt x="2032161" y="3400103"/>
                  <a:pt x="2035915" y="3372981"/>
                </a:cubicBezTo>
                <a:cubicBezTo>
                  <a:pt x="2036793" y="3369701"/>
                  <a:pt x="2029353" y="3371223"/>
                  <a:pt x="2031990" y="3361383"/>
                </a:cubicBezTo>
                <a:cubicBezTo>
                  <a:pt x="2037029" y="3355701"/>
                  <a:pt x="2036620" y="3330981"/>
                  <a:pt x="2032461" y="3333382"/>
                </a:cubicBezTo>
                <a:cubicBezTo>
                  <a:pt x="2041659" y="3325299"/>
                  <a:pt x="2033811" y="3302102"/>
                  <a:pt x="2038849" y="3296420"/>
                </a:cubicBezTo>
                <a:cubicBezTo>
                  <a:pt x="2032289" y="3294661"/>
                  <a:pt x="2029888" y="3290503"/>
                  <a:pt x="2027486" y="3286343"/>
                </a:cubicBezTo>
                <a:cubicBezTo>
                  <a:pt x="2025963" y="3278904"/>
                  <a:pt x="2026842" y="3275624"/>
                  <a:pt x="2025321" y="3268185"/>
                </a:cubicBezTo>
                <a:cubicBezTo>
                  <a:pt x="2024913" y="3243464"/>
                  <a:pt x="2029543" y="3213062"/>
                  <a:pt x="2033294" y="3185942"/>
                </a:cubicBezTo>
                <a:cubicBezTo>
                  <a:pt x="2035053" y="3179382"/>
                  <a:pt x="2040090" y="3173700"/>
                  <a:pt x="2040090" y="3173700"/>
                </a:cubicBezTo>
                <a:cubicBezTo>
                  <a:pt x="2037689" y="3169540"/>
                  <a:pt x="2038567" y="3166260"/>
                  <a:pt x="2036166" y="3162101"/>
                </a:cubicBezTo>
                <a:cubicBezTo>
                  <a:pt x="2037046" y="3158821"/>
                  <a:pt x="2037046" y="3158821"/>
                  <a:pt x="2037046" y="3158821"/>
                </a:cubicBezTo>
                <a:cubicBezTo>
                  <a:pt x="2049758" y="3137617"/>
                  <a:pt x="2048707" y="3102177"/>
                  <a:pt x="2049179" y="3074176"/>
                </a:cubicBezTo>
                <a:cubicBezTo>
                  <a:pt x="2052459" y="3075055"/>
                  <a:pt x="2052459" y="3075055"/>
                  <a:pt x="2052459" y="3075055"/>
                </a:cubicBezTo>
                <a:cubicBezTo>
                  <a:pt x="2058377" y="3066094"/>
                  <a:pt x="2046134" y="3059297"/>
                  <a:pt x="2056854" y="3058653"/>
                </a:cubicBezTo>
                <a:cubicBezTo>
                  <a:pt x="2061248" y="3042252"/>
                  <a:pt x="2052052" y="3050336"/>
                  <a:pt x="2055566" y="3037215"/>
                </a:cubicBezTo>
                <a:cubicBezTo>
                  <a:pt x="2058847" y="3038094"/>
                  <a:pt x="2060604" y="3031533"/>
                  <a:pt x="2064764" y="3029132"/>
                </a:cubicBezTo>
                <a:cubicBezTo>
                  <a:pt x="2061720" y="3014253"/>
                  <a:pt x="2065236" y="3001131"/>
                  <a:pt x="2072911" y="2985608"/>
                </a:cubicBezTo>
                <a:cubicBezTo>
                  <a:pt x="2064827" y="2976412"/>
                  <a:pt x="2076661" y="2958488"/>
                  <a:pt x="2075140" y="2951048"/>
                </a:cubicBezTo>
                <a:cubicBezTo>
                  <a:pt x="2078420" y="2951927"/>
                  <a:pt x="2079298" y="2948647"/>
                  <a:pt x="2079298" y="2948647"/>
                </a:cubicBezTo>
                <a:cubicBezTo>
                  <a:pt x="2078011" y="2927207"/>
                  <a:pt x="2085687" y="2911684"/>
                  <a:pt x="2090081" y="2895283"/>
                </a:cubicBezTo>
                <a:lnTo>
                  <a:pt x="2091816" y="2888809"/>
                </a:lnTo>
                <a:lnTo>
                  <a:pt x="2099621" y="2853246"/>
                </a:lnTo>
                <a:lnTo>
                  <a:pt x="2099985" y="2845200"/>
                </a:lnTo>
                <a:lnTo>
                  <a:pt x="2100816" y="2847794"/>
                </a:lnTo>
                <a:lnTo>
                  <a:pt x="2110855" y="2802050"/>
                </a:lnTo>
                <a:cubicBezTo>
                  <a:pt x="2139494" y="2686470"/>
                  <a:pt x="2177524" y="2572693"/>
                  <a:pt x="2224554" y="2460779"/>
                </a:cubicBezTo>
                <a:cubicBezTo>
                  <a:pt x="2261933" y="2371289"/>
                  <a:pt x="2306319" y="2285989"/>
                  <a:pt x="2358682" y="2205979"/>
                </a:cubicBezTo>
                <a:close/>
                <a:moveTo>
                  <a:pt x="6077176" y="2118185"/>
                </a:moveTo>
                <a:cubicBezTo>
                  <a:pt x="6090509" y="2134875"/>
                  <a:pt x="6099173" y="2152560"/>
                  <a:pt x="6112507" y="2169248"/>
                </a:cubicBezTo>
                <a:cubicBezTo>
                  <a:pt x="6107837" y="2170245"/>
                  <a:pt x="6107837" y="2170245"/>
                  <a:pt x="6107837" y="2170245"/>
                </a:cubicBezTo>
                <a:cubicBezTo>
                  <a:pt x="6106839" y="2165575"/>
                  <a:pt x="6100172" y="2157231"/>
                  <a:pt x="6099173" y="2152560"/>
                </a:cubicBezTo>
                <a:cubicBezTo>
                  <a:pt x="6093505" y="2148886"/>
                  <a:pt x="6086839" y="2140543"/>
                  <a:pt x="6085839" y="2135872"/>
                </a:cubicBezTo>
                <a:cubicBezTo>
                  <a:pt x="6085839" y="2135872"/>
                  <a:pt x="6080171" y="2132198"/>
                  <a:pt x="6080171" y="2132198"/>
                </a:cubicBezTo>
                <a:cubicBezTo>
                  <a:pt x="6074503" y="2128525"/>
                  <a:pt x="6074503" y="2128525"/>
                  <a:pt x="6073503" y="2123854"/>
                </a:cubicBezTo>
                <a:cubicBezTo>
                  <a:pt x="6072505" y="2119184"/>
                  <a:pt x="6072505" y="2119184"/>
                  <a:pt x="6077176" y="2118185"/>
                </a:cubicBezTo>
                <a:close/>
                <a:moveTo>
                  <a:pt x="2109589" y="1937684"/>
                </a:moveTo>
                <a:lnTo>
                  <a:pt x="2088831" y="1976351"/>
                </a:lnTo>
                <a:cubicBezTo>
                  <a:pt x="2085892" y="1983950"/>
                  <a:pt x="2083769" y="1991818"/>
                  <a:pt x="2082998" y="2000064"/>
                </a:cubicBezTo>
                <a:lnTo>
                  <a:pt x="2083339" y="2004008"/>
                </a:lnTo>
                <a:lnTo>
                  <a:pt x="2078984" y="2013244"/>
                </a:lnTo>
                <a:cubicBezTo>
                  <a:pt x="2076353" y="2018080"/>
                  <a:pt x="2071513" y="2023999"/>
                  <a:pt x="2058996" y="2033998"/>
                </a:cubicBezTo>
                <a:cubicBezTo>
                  <a:pt x="2069337" y="2036673"/>
                  <a:pt x="2023944" y="2075676"/>
                  <a:pt x="2025940" y="2085019"/>
                </a:cubicBezTo>
                <a:cubicBezTo>
                  <a:pt x="2045302" y="2061345"/>
                  <a:pt x="2027935" y="2094361"/>
                  <a:pt x="2020588" y="2105699"/>
                </a:cubicBezTo>
                <a:cubicBezTo>
                  <a:pt x="2015917" y="2106696"/>
                  <a:pt x="2014918" y="2102026"/>
                  <a:pt x="2019591" y="2101027"/>
                </a:cubicBezTo>
                <a:cubicBezTo>
                  <a:pt x="2018592" y="2096357"/>
                  <a:pt x="2018592" y="2096357"/>
                  <a:pt x="2018592" y="2096357"/>
                </a:cubicBezTo>
                <a:cubicBezTo>
                  <a:pt x="2017595" y="2091686"/>
                  <a:pt x="2018592" y="2096357"/>
                  <a:pt x="2013921" y="2097355"/>
                </a:cubicBezTo>
                <a:cubicBezTo>
                  <a:pt x="2010248" y="2103023"/>
                  <a:pt x="2010248" y="2103023"/>
                  <a:pt x="2010248" y="2103023"/>
                </a:cubicBezTo>
                <a:cubicBezTo>
                  <a:pt x="2007573" y="2113364"/>
                  <a:pt x="2013243" y="2117038"/>
                  <a:pt x="2013243" y="2117038"/>
                </a:cubicBezTo>
                <a:cubicBezTo>
                  <a:pt x="2014240" y="2121707"/>
                  <a:pt x="2010567" y="2127376"/>
                  <a:pt x="2006894" y="2133046"/>
                </a:cubicBezTo>
                <a:cubicBezTo>
                  <a:pt x="2002223" y="2134043"/>
                  <a:pt x="2002223" y="2134043"/>
                  <a:pt x="1997551" y="2135041"/>
                </a:cubicBezTo>
                <a:cubicBezTo>
                  <a:pt x="1997551" y="2135041"/>
                  <a:pt x="1996554" y="2130371"/>
                  <a:pt x="1996554" y="2130371"/>
                </a:cubicBezTo>
                <a:cubicBezTo>
                  <a:pt x="1996554" y="2130371"/>
                  <a:pt x="1996554" y="2130371"/>
                  <a:pt x="1991884" y="2131368"/>
                </a:cubicBezTo>
                <a:cubicBezTo>
                  <a:pt x="1991884" y="2131368"/>
                  <a:pt x="1992881" y="2136040"/>
                  <a:pt x="1992881" y="2136040"/>
                </a:cubicBezTo>
                <a:cubicBezTo>
                  <a:pt x="1992881" y="2136040"/>
                  <a:pt x="1993879" y="2140711"/>
                  <a:pt x="1993879" y="2140711"/>
                </a:cubicBezTo>
                <a:cubicBezTo>
                  <a:pt x="1994876" y="2145381"/>
                  <a:pt x="1990205" y="2146379"/>
                  <a:pt x="1991204" y="2151051"/>
                </a:cubicBezTo>
                <a:cubicBezTo>
                  <a:pt x="1986534" y="2152048"/>
                  <a:pt x="1987531" y="2156719"/>
                  <a:pt x="1987531" y="2156719"/>
                </a:cubicBezTo>
                <a:cubicBezTo>
                  <a:pt x="1982860" y="2157718"/>
                  <a:pt x="1982860" y="2157718"/>
                  <a:pt x="1982860" y="2157718"/>
                </a:cubicBezTo>
                <a:cubicBezTo>
                  <a:pt x="1979187" y="2163386"/>
                  <a:pt x="1979187" y="2163386"/>
                  <a:pt x="1979187" y="2163386"/>
                </a:cubicBezTo>
                <a:cubicBezTo>
                  <a:pt x="1983857" y="2162388"/>
                  <a:pt x="1983857" y="2162388"/>
                  <a:pt x="1983857" y="2162388"/>
                </a:cubicBezTo>
                <a:cubicBezTo>
                  <a:pt x="1979187" y="2163386"/>
                  <a:pt x="1980184" y="2168057"/>
                  <a:pt x="1980184" y="2168057"/>
                </a:cubicBezTo>
                <a:cubicBezTo>
                  <a:pt x="1965493" y="2190733"/>
                  <a:pt x="1950798" y="2213409"/>
                  <a:pt x="1939781" y="2230416"/>
                </a:cubicBezTo>
                <a:cubicBezTo>
                  <a:pt x="1935109" y="2231414"/>
                  <a:pt x="1935109" y="2231414"/>
                  <a:pt x="1935109" y="2231414"/>
                </a:cubicBezTo>
                <a:cubicBezTo>
                  <a:pt x="1936107" y="2236085"/>
                  <a:pt x="1936107" y="2236085"/>
                  <a:pt x="1936107" y="2236085"/>
                </a:cubicBezTo>
                <a:cubicBezTo>
                  <a:pt x="1932434" y="2241754"/>
                  <a:pt x="1932434" y="2241754"/>
                  <a:pt x="1932434" y="2241754"/>
                </a:cubicBezTo>
                <a:cubicBezTo>
                  <a:pt x="1933433" y="2246425"/>
                  <a:pt x="1933433" y="2246425"/>
                  <a:pt x="1933433" y="2246425"/>
                </a:cubicBezTo>
                <a:cubicBezTo>
                  <a:pt x="1932434" y="2241754"/>
                  <a:pt x="1932434" y="2241754"/>
                  <a:pt x="1926765" y="2238080"/>
                </a:cubicBezTo>
                <a:cubicBezTo>
                  <a:pt x="1923091" y="2243750"/>
                  <a:pt x="1919419" y="2249418"/>
                  <a:pt x="1912072" y="2260756"/>
                </a:cubicBezTo>
                <a:cubicBezTo>
                  <a:pt x="1912072" y="2260756"/>
                  <a:pt x="1912072" y="2260756"/>
                  <a:pt x="1907402" y="2261755"/>
                </a:cubicBezTo>
                <a:lnTo>
                  <a:pt x="1905146" y="2259025"/>
                </a:lnTo>
                <a:lnTo>
                  <a:pt x="1906944" y="2256251"/>
                </a:lnTo>
                <a:lnTo>
                  <a:pt x="1908825" y="2254124"/>
                </a:lnTo>
                <a:cubicBezTo>
                  <a:pt x="1912413" y="2250916"/>
                  <a:pt x="1916585" y="2247581"/>
                  <a:pt x="1913750" y="2245744"/>
                </a:cubicBezTo>
                <a:lnTo>
                  <a:pt x="1906944" y="2256251"/>
                </a:lnTo>
                <a:lnTo>
                  <a:pt x="1904828" y="2258642"/>
                </a:lnTo>
                <a:lnTo>
                  <a:pt x="1905146" y="2259025"/>
                </a:lnTo>
                <a:lnTo>
                  <a:pt x="1888038" y="2285428"/>
                </a:lnTo>
                <a:cubicBezTo>
                  <a:pt x="1880691" y="2296766"/>
                  <a:pt x="1877020" y="2302434"/>
                  <a:pt x="1869672" y="2313773"/>
                </a:cubicBezTo>
                <a:cubicBezTo>
                  <a:pt x="1865998" y="2319442"/>
                  <a:pt x="1858653" y="2330779"/>
                  <a:pt x="1855978" y="2341119"/>
                </a:cubicBezTo>
                <a:cubicBezTo>
                  <a:pt x="1844959" y="2358126"/>
                  <a:pt x="1836615" y="2364794"/>
                  <a:pt x="1822921" y="2392140"/>
                </a:cubicBezTo>
                <a:cubicBezTo>
                  <a:pt x="1819248" y="2397810"/>
                  <a:pt x="1815574" y="2403479"/>
                  <a:pt x="1816572" y="2408148"/>
                </a:cubicBezTo>
                <a:cubicBezTo>
                  <a:pt x="1811902" y="2409147"/>
                  <a:pt x="1812900" y="2413817"/>
                  <a:pt x="1808228" y="2414816"/>
                </a:cubicBezTo>
                <a:cubicBezTo>
                  <a:pt x="1808228" y="2414816"/>
                  <a:pt x="1804555" y="2420484"/>
                  <a:pt x="1804555" y="2420484"/>
                </a:cubicBezTo>
                <a:cubicBezTo>
                  <a:pt x="1800883" y="2426153"/>
                  <a:pt x="1797209" y="2431823"/>
                  <a:pt x="1794533" y="2442162"/>
                </a:cubicBezTo>
                <a:cubicBezTo>
                  <a:pt x="1793536" y="2437492"/>
                  <a:pt x="1782517" y="2454499"/>
                  <a:pt x="1788184" y="2458170"/>
                </a:cubicBezTo>
                <a:cubicBezTo>
                  <a:pt x="1784512" y="2463840"/>
                  <a:pt x="1780839" y="2469509"/>
                  <a:pt x="1777165" y="2475180"/>
                </a:cubicBezTo>
                <a:cubicBezTo>
                  <a:pt x="1744108" y="2526200"/>
                  <a:pt x="1709374" y="2592231"/>
                  <a:pt x="1685658" y="2641254"/>
                </a:cubicBezTo>
                <a:lnTo>
                  <a:pt x="1682599" y="2641908"/>
                </a:lnTo>
                <a:lnTo>
                  <a:pt x="1683636" y="2638298"/>
                </a:lnTo>
                <a:lnTo>
                  <a:pt x="1750713" y="2461519"/>
                </a:lnTo>
                <a:lnTo>
                  <a:pt x="1758144" y="2444367"/>
                </a:lnTo>
                <a:cubicBezTo>
                  <a:pt x="1760152" y="2441266"/>
                  <a:pt x="1761507" y="2441892"/>
                  <a:pt x="1761837" y="2449148"/>
                </a:cubicBezTo>
                <a:lnTo>
                  <a:pt x="1764852" y="2429816"/>
                </a:lnTo>
                <a:lnTo>
                  <a:pt x="1770123" y="2418679"/>
                </a:lnTo>
                <a:lnTo>
                  <a:pt x="1773535" y="2412460"/>
                </a:lnTo>
                <a:cubicBezTo>
                  <a:pt x="1773535" y="2412460"/>
                  <a:pt x="1774532" y="2417130"/>
                  <a:pt x="1778206" y="2411463"/>
                </a:cubicBezTo>
                <a:cubicBezTo>
                  <a:pt x="1780042" y="2408627"/>
                  <a:pt x="1779543" y="2406292"/>
                  <a:pt x="1779045" y="2403956"/>
                </a:cubicBezTo>
                <a:lnTo>
                  <a:pt x="1779650" y="2398547"/>
                </a:lnTo>
                <a:lnTo>
                  <a:pt x="1780549" y="2396643"/>
                </a:lnTo>
                <a:lnTo>
                  <a:pt x="1783219" y="2397418"/>
                </a:lnTo>
                <a:cubicBezTo>
                  <a:pt x="1790665" y="2392621"/>
                  <a:pt x="1806752" y="2373615"/>
                  <a:pt x="1798250" y="2368106"/>
                </a:cubicBezTo>
                <a:cubicBezTo>
                  <a:pt x="1807590" y="2366111"/>
                  <a:pt x="1819289" y="2329421"/>
                  <a:pt x="1818610" y="2349103"/>
                </a:cubicBezTo>
                <a:cubicBezTo>
                  <a:pt x="1842326" y="2300078"/>
                  <a:pt x="1864365" y="2266065"/>
                  <a:pt x="1881733" y="2233049"/>
                </a:cubicBezTo>
                <a:cubicBezTo>
                  <a:pt x="1885404" y="2227381"/>
                  <a:pt x="1892752" y="2216042"/>
                  <a:pt x="1896425" y="2210374"/>
                </a:cubicBezTo>
                <a:cubicBezTo>
                  <a:pt x="1925809" y="2165022"/>
                  <a:pt x="1956191" y="2124341"/>
                  <a:pt x="1991246" y="2082662"/>
                </a:cubicBezTo>
                <a:cubicBezTo>
                  <a:pt x="1999590" y="2075996"/>
                  <a:pt x="2015280" y="2057991"/>
                  <a:pt x="2014282" y="2053319"/>
                </a:cubicBezTo>
                <a:cubicBezTo>
                  <a:pt x="2014282" y="2053319"/>
                  <a:pt x="2014282" y="2053319"/>
                  <a:pt x="2013284" y="2048648"/>
                </a:cubicBezTo>
                <a:cubicBezTo>
                  <a:pt x="2013284" y="2048648"/>
                  <a:pt x="2018954" y="2052322"/>
                  <a:pt x="2018954" y="2052322"/>
                </a:cubicBezTo>
                <a:cubicBezTo>
                  <a:pt x="2022626" y="2046653"/>
                  <a:pt x="2027297" y="2045655"/>
                  <a:pt x="2026300" y="2040983"/>
                </a:cubicBezTo>
                <a:cubicBezTo>
                  <a:pt x="2030971" y="2039986"/>
                  <a:pt x="2029972" y="2035316"/>
                  <a:pt x="2029972" y="2035316"/>
                </a:cubicBezTo>
                <a:cubicBezTo>
                  <a:pt x="2029972" y="2035316"/>
                  <a:pt x="2029972" y="2035316"/>
                  <a:pt x="2025302" y="2036313"/>
                </a:cubicBezTo>
                <a:cubicBezTo>
                  <a:pt x="2039994" y="2013637"/>
                  <a:pt x="2060356" y="1994635"/>
                  <a:pt x="2079719" y="1970960"/>
                </a:cubicBezTo>
                <a:cubicBezTo>
                  <a:pt x="2090569" y="1958874"/>
                  <a:pt x="2098705" y="1949809"/>
                  <a:pt x="2104808" y="1943012"/>
                </a:cubicBezTo>
                <a:close/>
                <a:moveTo>
                  <a:pt x="5856125" y="1563605"/>
                </a:moveTo>
                <a:lnTo>
                  <a:pt x="5862009" y="1568282"/>
                </a:lnTo>
                <a:cubicBezTo>
                  <a:pt x="5862009" y="1568282"/>
                  <a:pt x="5856339" y="1564609"/>
                  <a:pt x="5856339" y="1564609"/>
                </a:cubicBezTo>
                <a:close/>
                <a:moveTo>
                  <a:pt x="5246583" y="1522365"/>
                </a:moveTo>
                <a:cubicBezTo>
                  <a:pt x="5241635" y="1531357"/>
                  <a:pt x="5271801" y="1546788"/>
                  <a:pt x="5292976" y="1557270"/>
                </a:cubicBezTo>
                <a:cubicBezTo>
                  <a:pt x="5314415" y="1584300"/>
                  <a:pt x="5350379" y="1604094"/>
                  <a:pt x="5381981" y="1629688"/>
                </a:cubicBezTo>
                <a:cubicBezTo>
                  <a:pt x="5378789" y="1629103"/>
                  <a:pt x="5378789" y="1629103"/>
                  <a:pt x="5378789" y="1629103"/>
                </a:cubicBezTo>
                <a:cubicBezTo>
                  <a:pt x="5376183" y="1625324"/>
                  <a:pt x="5372989" y="1624740"/>
                  <a:pt x="5369212" y="1627347"/>
                </a:cubicBezTo>
                <a:cubicBezTo>
                  <a:pt x="5369212" y="1627347"/>
                  <a:pt x="5371821" y="1631126"/>
                  <a:pt x="5375011" y="1631710"/>
                </a:cubicBezTo>
                <a:cubicBezTo>
                  <a:pt x="5342238" y="1612502"/>
                  <a:pt x="5297869" y="1584567"/>
                  <a:pt x="5272066" y="1563336"/>
                </a:cubicBezTo>
                <a:cubicBezTo>
                  <a:pt x="5247699" y="1552269"/>
                  <a:pt x="5223918" y="1538010"/>
                  <a:pt x="5204180" y="1537692"/>
                </a:cubicBezTo>
                <a:cubicBezTo>
                  <a:pt x="5281323" y="1584834"/>
                  <a:pt x="5337291" y="1621495"/>
                  <a:pt x="5381927" y="1665979"/>
                </a:cubicBezTo>
                <a:cubicBezTo>
                  <a:pt x="5400495" y="1672683"/>
                  <a:pt x="5429489" y="1694498"/>
                  <a:pt x="5437310" y="1705833"/>
                </a:cubicBezTo>
                <a:cubicBezTo>
                  <a:pt x="5424542" y="1703492"/>
                  <a:pt x="5435554" y="1715410"/>
                  <a:pt x="5428584" y="1717433"/>
                </a:cubicBezTo>
                <a:cubicBezTo>
                  <a:pt x="5436990" y="1725574"/>
                  <a:pt x="5440768" y="1722967"/>
                  <a:pt x="5445982" y="1730522"/>
                </a:cubicBezTo>
                <a:cubicBezTo>
                  <a:pt x="5461357" y="1736643"/>
                  <a:pt x="5436139" y="1712218"/>
                  <a:pt x="5454121" y="1722114"/>
                </a:cubicBezTo>
                <a:cubicBezTo>
                  <a:pt x="5488331" y="1751486"/>
                  <a:pt x="5507164" y="1774739"/>
                  <a:pt x="5545149" y="1801503"/>
                </a:cubicBezTo>
                <a:cubicBezTo>
                  <a:pt x="5552385" y="1816031"/>
                  <a:pt x="5569197" y="1832312"/>
                  <a:pt x="5589201" y="1849179"/>
                </a:cubicBezTo>
                <a:cubicBezTo>
                  <a:pt x="5606011" y="1865462"/>
                  <a:pt x="5625430" y="1885523"/>
                  <a:pt x="5635857" y="1900633"/>
                </a:cubicBezTo>
                <a:cubicBezTo>
                  <a:pt x="5624845" y="1888715"/>
                  <a:pt x="5621067" y="1891322"/>
                  <a:pt x="5617876" y="1890738"/>
                </a:cubicBezTo>
                <a:cubicBezTo>
                  <a:pt x="5620483" y="1894516"/>
                  <a:pt x="5617289" y="1893930"/>
                  <a:pt x="5616705" y="1897123"/>
                </a:cubicBezTo>
                <a:cubicBezTo>
                  <a:pt x="5633515" y="1913406"/>
                  <a:pt x="5635539" y="1920376"/>
                  <a:pt x="5652350" y="1936657"/>
                </a:cubicBezTo>
                <a:cubicBezTo>
                  <a:pt x="5655543" y="1937242"/>
                  <a:pt x="5655543" y="1937242"/>
                  <a:pt x="5661340" y="1941605"/>
                </a:cubicBezTo>
                <a:cubicBezTo>
                  <a:pt x="5665703" y="1935806"/>
                  <a:pt x="5657883" y="1924472"/>
                  <a:pt x="5666874" y="1929420"/>
                </a:cubicBezTo>
                <a:cubicBezTo>
                  <a:pt x="5683101" y="1948895"/>
                  <a:pt x="5693528" y="1964007"/>
                  <a:pt x="5707147" y="1979705"/>
                </a:cubicBezTo>
                <a:cubicBezTo>
                  <a:pt x="5720766" y="1995402"/>
                  <a:pt x="5734387" y="2011099"/>
                  <a:pt x="5756412" y="2034937"/>
                </a:cubicBezTo>
                <a:cubicBezTo>
                  <a:pt x="5756996" y="2031744"/>
                  <a:pt x="5760189" y="2032328"/>
                  <a:pt x="5762795" y="2036107"/>
                </a:cubicBezTo>
                <a:cubicBezTo>
                  <a:pt x="5779021" y="2055583"/>
                  <a:pt x="5776415" y="2051804"/>
                  <a:pt x="5789449" y="2070695"/>
                </a:cubicBezTo>
                <a:cubicBezTo>
                  <a:pt x="5794662" y="2078250"/>
                  <a:pt x="5803069" y="2086391"/>
                  <a:pt x="5808283" y="2093948"/>
                </a:cubicBezTo>
                <a:cubicBezTo>
                  <a:pt x="5835202" y="2145084"/>
                  <a:pt x="5875208" y="2178819"/>
                  <a:pt x="5910535" y="2238094"/>
                </a:cubicBezTo>
                <a:cubicBezTo>
                  <a:pt x="5913727" y="2238679"/>
                  <a:pt x="5918355" y="2249428"/>
                  <a:pt x="5924153" y="2253791"/>
                </a:cubicBezTo>
                <a:cubicBezTo>
                  <a:pt x="5923568" y="2256984"/>
                  <a:pt x="5934580" y="2268904"/>
                  <a:pt x="5927611" y="2270927"/>
                </a:cubicBezTo>
                <a:cubicBezTo>
                  <a:pt x="5921812" y="2266563"/>
                  <a:pt x="5908779" y="2247673"/>
                  <a:pt x="5904415" y="2253473"/>
                </a:cubicBezTo>
                <a:cubicBezTo>
                  <a:pt x="5911651" y="2268000"/>
                  <a:pt x="5920056" y="2276142"/>
                  <a:pt x="5924685" y="2286890"/>
                </a:cubicBezTo>
                <a:cubicBezTo>
                  <a:pt x="5932506" y="2298224"/>
                  <a:pt x="5940911" y="2306364"/>
                  <a:pt x="5949317" y="2314506"/>
                </a:cubicBezTo>
                <a:cubicBezTo>
                  <a:pt x="5957723" y="2322647"/>
                  <a:pt x="5945274" y="2300565"/>
                  <a:pt x="5949051" y="2297957"/>
                </a:cubicBezTo>
                <a:cubicBezTo>
                  <a:pt x="5949051" y="2297957"/>
                  <a:pt x="5954265" y="2305513"/>
                  <a:pt x="5958042" y="2302905"/>
                </a:cubicBezTo>
                <a:cubicBezTo>
                  <a:pt x="5961819" y="2300299"/>
                  <a:pt x="5952562" y="2278799"/>
                  <a:pt x="5967621" y="2304661"/>
                </a:cubicBezTo>
                <a:cubicBezTo>
                  <a:pt x="5965012" y="2300883"/>
                  <a:pt x="5965012" y="2300883"/>
                  <a:pt x="5965012" y="2300883"/>
                </a:cubicBezTo>
                <a:cubicBezTo>
                  <a:pt x="5965012" y="2300883"/>
                  <a:pt x="5964427" y="2304075"/>
                  <a:pt x="5964427" y="2304075"/>
                </a:cubicBezTo>
                <a:cubicBezTo>
                  <a:pt x="5963841" y="2307269"/>
                  <a:pt x="5963841" y="2307269"/>
                  <a:pt x="5963841" y="2307269"/>
                </a:cubicBezTo>
                <a:cubicBezTo>
                  <a:pt x="5966448" y="2311046"/>
                  <a:pt x="5966448" y="2311046"/>
                  <a:pt x="5969641" y="2311632"/>
                </a:cubicBezTo>
                <a:cubicBezTo>
                  <a:pt x="5963256" y="2310461"/>
                  <a:pt x="5978311" y="2336321"/>
                  <a:pt x="5982091" y="2333714"/>
                </a:cubicBezTo>
                <a:cubicBezTo>
                  <a:pt x="5981505" y="2336907"/>
                  <a:pt x="5984696" y="2337493"/>
                  <a:pt x="5987303" y="2341270"/>
                </a:cubicBezTo>
                <a:cubicBezTo>
                  <a:pt x="5987303" y="2341270"/>
                  <a:pt x="5987889" y="2338077"/>
                  <a:pt x="5985281" y="2334300"/>
                </a:cubicBezTo>
                <a:cubicBezTo>
                  <a:pt x="5985281" y="2334300"/>
                  <a:pt x="5985281" y="2334300"/>
                  <a:pt x="5985867" y="2331106"/>
                </a:cubicBezTo>
                <a:cubicBezTo>
                  <a:pt x="5995708" y="2349412"/>
                  <a:pt x="6030769" y="2392138"/>
                  <a:pt x="6031034" y="2408688"/>
                </a:cubicBezTo>
                <a:cubicBezTo>
                  <a:pt x="6019435" y="2399961"/>
                  <a:pt x="6008423" y="2388044"/>
                  <a:pt x="6004061" y="2393843"/>
                </a:cubicBezTo>
                <a:cubicBezTo>
                  <a:pt x="6006082" y="2400813"/>
                  <a:pt x="6013901" y="2412148"/>
                  <a:pt x="6004326" y="2410392"/>
                </a:cubicBezTo>
                <a:cubicBezTo>
                  <a:pt x="6011561" y="2424918"/>
                  <a:pt x="6018797" y="2439444"/>
                  <a:pt x="6026031" y="2453972"/>
                </a:cubicBezTo>
                <a:cubicBezTo>
                  <a:pt x="6029224" y="2454556"/>
                  <a:pt x="6024595" y="2443807"/>
                  <a:pt x="6029808" y="2451365"/>
                </a:cubicBezTo>
                <a:cubicBezTo>
                  <a:pt x="6033851" y="2465306"/>
                  <a:pt x="6041673" y="2476639"/>
                  <a:pt x="6047737" y="2497552"/>
                </a:cubicBezTo>
                <a:cubicBezTo>
                  <a:pt x="6064547" y="2513833"/>
                  <a:pt x="6070613" y="2534746"/>
                  <a:pt x="6086519" y="2573962"/>
                </a:cubicBezTo>
                <a:cubicBezTo>
                  <a:pt x="6080135" y="2572791"/>
                  <a:pt x="6082156" y="2579763"/>
                  <a:pt x="6082156" y="2579763"/>
                </a:cubicBezTo>
                <a:cubicBezTo>
                  <a:pt x="6092849" y="2611422"/>
                  <a:pt x="6106149" y="2646862"/>
                  <a:pt x="6113651" y="2677937"/>
                </a:cubicBezTo>
                <a:cubicBezTo>
                  <a:pt x="6123757" y="2712792"/>
                  <a:pt x="6134449" y="2744452"/>
                  <a:pt x="6143121" y="2769142"/>
                </a:cubicBezTo>
                <a:cubicBezTo>
                  <a:pt x="6139079" y="2755200"/>
                  <a:pt x="6146899" y="2766533"/>
                  <a:pt x="6149507" y="2770313"/>
                </a:cubicBezTo>
                <a:cubicBezTo>
                  <a:pt x="6150943" y="2780476"/>
                  <a:pt x="6157591" y="2798196"/>
                  <a:pt x="6151794" y="2793831"/>
                </a:cubicBezTo>
                <a:cubicBezTo>
                  <a:pt x="6160465" y="2818522"/>
                  <a:pt x="6165093" y="2829271"/>
                  <a:pt x="6172593" y="2860346"/>
                </a:cubicBezTo>
                <a:cubicBezTo>
                  <a:pt x="6170839" y="2869925"/>
                  <a:pt x="6169667" y="2876311"/>
                  <a:pt x="6171103" y="2886473"/>
                </a:cubicBezTo>
                <a:cubicBezTo>
                  <a:pt x="6176317" y="2894030"/>
                  <a:pt x="6179775" y="2911164"/>
                  <a:pt x="6180041" y="2927712"/>
                </a:cubicBezTo>
                <a:cubicBezTo>
                  <a:pt x="6183497" y="2944847"/>
                  <a:pt x="6187542" y="2958788"/>
                  <a:pt x="6193340" y="2963151"/>
                </a:cubicBezTo>
                <a:cubicBezTo>
                  <a:pt x="6195681" y="2950380"/>
                  <a:pt x="6193978" y="2923668"/>
                  <a:pt x="6188501" y="2899562"/>
                </a:cubicBezTo>
                <a:cubicBezTo>
                  <a:pt x="6183021" y="2875459"/>
                  <a:pt x="6174935" y="2847575"/>
                  <a:pt x="6168869" y="2826663"/>
                </a:cubicBezTo>
                <a:cubicBezTo>
                  <a:pt x="6166264" y="2822885"/>
                  <a:pt x="6164827" y="2812722"/>
                  <a:pt x="6165413" y="2809528"/>
                </a:cubicBezTo>
                <a:cubicBezTo>
                  <a:pt x="6147485" y="2763343"/>
                  <a:pt x="6152753" y="2734608"/>
                  <a:pt x="6141209" y="2689590"/>
                </a:cubicBezTo>
                <a:cubicBezTo>
                  <a:pt x="6109927" y="2644255"/>
                  <a:pt x="6103331" y="2590245"/>
                  <a:pt x="6069763" y="2521391"/>
                </a:cubicBezTo>
                <a:cubicBezTo>
                  <a:pt x="6076146" y="2522559"/>
                  <a:pt x="6072103" y="2508619"/>
                  <a:pt x="6075882" y="2506011"/>
                </a:cubicBezTo>
                <a:cubicBezTo>
                  <a:pt x="6071253" y="2495261"/>
                  <a:pt x="6064017" y="2480736"/>
                  <a:pt x="6059974" y="2466794"/>
                </a:cubicBezTo>
                <a:cubicBezTo>
                  <a:pt x="6062581" y="2470572"/>
                  <a:pt x="6062581" y="2470572"/>
                  <a:pt x="6062581" y="2470572"/>
                </a:cubicBezTo>
                <a:cubicBezTo>
                  <a:pt x="6065188" y="2474350"/>
                  <a:pt x="6065188" y="2474350"/>
                  <a:pt x="6065188" y="2474350"/>
                </a:cubicBezTo>
                <a:cubicBezTo>
                  <a:pt x="6065773" y="2471157"/>
                  <a:pt x="6066357" y="2467964"/>
                  <a:pt x="6063167" y="2467380"/>
                </a:cubicBezTo>
                <a:cubicBezTo>
                  <a:pt x="6060559" y="2463602"/>
                  <a:pt x="6060559" y="2463602"/>
                  <a:pt x="6060559" y="2463602"/>
                </a:cubicBezTo>
                <a:cubicBezTo>
                  <a:pt x="6061145" y="2460410"/>
                  <a:pt x="6061145" y="2460410"/>
                  <a:pt x="6061145" y="2460410"/>
                </a:cubicBezTo>
                <a:cubicBezTo>
                  <a:pt x="6062901" y="2450831"/>
                  <a:pt x="6047845" y="2424970"/>
                  <a:pt x="6030769" y="2392138"/>
                </a:cubicBezTo>
                <a:cubicBezTo>
                  <a:pt x="6010499" y="2358723"/>
                  <a:pt x="5988208" y="2318335"/>
                  <a:pt x="5967939" y="2284919"/>
                </a:cubicBezTo>
                <a:cubicBezTo>
                  <a:pt x="5960703" y="2270393"/>
                  <a:pt x="5958681" y="2263421"/>
                  <a:pt x="5950861" y="2252088"/>
                </a:cubicBezTo>
                <a:cubicBezTo>
                  <a:pt x="5927985" y="2214894"/>
                  <a:pt x="5898140" y="2179721"/>
                  <a:pt x="5874678" y="2145720"/>
                </a:cubicBezTo>
                <a:cubicBezTo>
                  <a:pt x="5869464" y="2138164"/>
                  <a:pt x="5868028" y="2128001"/>
                  <a:pt x="5862229" y="2123637"/>
                </a:cubicBezTo>
                <a:cubicBezTo>
                  <a:pt x="5862229" y="2123637"/>
                  <a:pt x="5865421" y="2124222"/>
                  <a:pt x="5864835" y="2127414"/>
                </a:cubicBezTo>
                <a:cubicBezTo>
                  <a:pt x="5864835" y="2127414"/>
                  <a:pt x="5868028" y="2128001"/>
                  <a:pt x="5868028" y="2128001"/>
                </a:cubicBezTo>
                <a:cubicBezTo>
                  <a:pt x="5865421" y="2124222"/>
                  <a:pt x="5865421" y="2124222"/>
                  <a:pt x="5862814" y="2120444"/>
                </a:cubicBezTo>
                <a:cubicBezTo>
                  <a:pt x="5860207" y="2116666"/>
                  <a:pt x="5860207" y="2116666"/>
                  <a:pt x="5860207" y="2116666"/>
                </a:cubicBezTo>
                <a:cubicBezTo>
                  <a:pt x="5866006" y="2121031"/>
                  <a:pt x="5879041" y="2139920"/>
                  <a:pt x="5888031" y="2144868"/>
                </a:cubicBezTo>
                <a:cubicBezTo>
                  <a:pt x="5891809" y="2142261"/>
                  <a:pt x="5883989" y="2130928"/>
                  <a:pt x="5876167" y="2119593"/>
                </a:cubicBezTo>
                <a:cubicBezTo>
                  <a:pt x="5879361" y="2120179"/>
                  <a:pt x="5879361" y="2120179"/>
                  <a:pt x="5879361" y="2120179"/>
                </a:cubicBezTo>
                <a:cubicBezTo>
                  <a:pt x="5881968" y="2123955"/>
                  <a:pt x="5881968" y="2123955"/>
                  <a:pt x="5881968" y="2123955"/>
                </a:cubicBezTo>
                <a:cubicBezTo>
                  <a:pt x="5885745" y="2121349"/>
                  <a:pt x="5882553" y="2120764"/>
                  <a:pt x="5879947" y="2116985"/>
                </a:cubicBezTo>
                <a:cubicBezTo>
                  <a:pt x="5879947" y="2116985"/>
                  <a:pt x="5877339" y="2113207"/>
                  <a:pt x="5877339" y="2113207"/>
                </a:cubicBezTo>
                <a:cubicBezTo>
                  <a:pt x="5877925" y="2110013"/>
                  <a:pt x="5890373" y="2132097"/>
                  <a:pt x="5888937" y="2121935"/>
                </a:cubicBezTo>
                <a:cubicBezTo>
                  <a:pt x="5875903" y="2103043"/>
                  <a:pt x="5860262" y="2080376"/>
                  <a:pt x="5847227" y="2061487"/>
                </a:cubicBezTo>
                <a:cubicBezTo>
                  <a:pt x="5834193" y="2042597"/>
                  <a:pt x="5823181" y="2030677"/>
                  <a:pt x="5815626" y="2035893"/>
                </a:cubicBezTo>
                <a:cubicBezTo>
                  <a:pt x="5816211" y="2032701"/>
                  <a:pt x="5813019" y="2032114"/>
                  <a:pt x="5813019" y="2032114"/>
                </a:cubicBezTo>
                <a:cubicBezTo>
                  <a:pt x="5813605" y="2028921"/>
                  <a:pt x="5810999" y="2025142"/>
                  <a:pt x="5807807" y="2024558"/>
                </a:cubicBezTo>
                <a:cubicBezTo>
                  <a:pt x="5807807" y="2024558"/>
                  <a:pt x="5807807" y="2024558"/>
                  <a:pt x="5807219" y="2027751"/>
                </a:cubicBezTo>
                <a:cubicBezTo>
                  <a:pt x="5807219" y="2027751"/>
                  <a:pt x="5809827" y="2031530"/>
                  <a:pt x="5809827" y="2031530"/>
                </a:cubicBezTo>
                <a:cubicBezTo>
                  <a:pt x="5806635" y="2030945"/>
                  <a:pt x="5800837" y="2026580"/>
                  <a:pt x="5792431" y="2018439"/>
                </a:cubicBezTo>
                <a:cubicBezTo>
                  <a:pt x="5788653" y="2021048"/>
                  <a:pt x="5781683" y="2023069"/>
                  <a:pt x="5778490" y="2022486"/>
                </a:cubicBezTo>
                <a:cubicBezTo>
                  <a:pt x="5757637" y="1992261"/>
                  <a:pt x="5740824" y="1975978"/>
                  <a:pt x="5713585" y="1944585"/>
                </a:cubicBezTo>
                <a:cubicBezTo>
                  <a:pt x="5708371" y="1937028"/>
                  <a:pt x="5702573" y="1932665"/>
                  <a:pt x="5693582" y="1927717"/>
                </a:cubicBezTo>
                <a:cubicBezTo>
                  <a:pt x="5663735" y="1892545"/>
                  <a:pt x="5633305" y="1860565"/>
                  <a:pt x="5602288" y="1831780"/>
                </a:cubicBezTo>
                <a:cubicBezTo>
                  <a:pt x="5568665" y="1799214"/>
                  <a:pt x="5537649" y="1770429"/>
                  <a:pt x="5510410" y="1739034"/>
                </a:cubicBezTo>
                <a:cubicBezTo>
                  <a:pt x="5513601" y="1739619"/>
                  <a:pt x="5513601" y="1739619"/>
                  <a:pt x="5513601" y="1739619"/>
                </a:cubicBezTo>
                <a:cubicBezTo>
                  <a:pt x="5516208" y="1743398"/>
                  <a:pt x="5519401" y="1743982"/>
                  <a:pt x="5519401" y="1743982"/>
                </a:cubicBezTo>
                <a:cubicBezTo>
                  <a:pt x="5519987" y="1740790"/>
                  <a:pt x="5517379" y="1737011"/>
                  <a:pt x="5514187" y="1736427"/>
                </a:cubicBezTo>
                <a:cubicBezTo>
                  <a:pt x="5511581" y="1732649"/>
                  <a:pt x="5511581" y="1732649"/>
                  <a:pt x="5508389" y="1732064"/>
                </a:cubicBezTo>
                <a:cubicBezTo>
                  <a:pt x="5508974" y="1728870"/>
                  <a:pt x="5512165" y="1729457"/>
                  <a:pt x="5514771" y="1733234"/>
                </a:cubicBezTo>
                <a:cubicBezTo>
                  <a:pt x="5537383" y="1753879"/>
                  <a:pt x="5570421" y="1789637"/>
                  <a:pt x="5602607" y="1812037"/>
                </a:cubicBezTo>
                <a:cubicBezTo>
                  <a:pt x="5605801" y="1812623"/>
                  <a:pt x="5612185" y="1813793"/>
                  <a:pt x="5604365" y="1802460"/>
                </a:cubicBezTo>
                <a:cubicBezTo>
                  <a:pt x="5597979" y="1801288"/>
                  <a:pt x="5589574" y="1793147"/>
                  <a:pt x="5577975" y="1784421"/>
                </a:cubicBezTo>
                <a:cubicBezTo>
                  <a:pt x="5585531" y="1779206"/>
                  <a:pt x="5555951" y="1760583"/>
                  <a:pt x="5541747" y="1748079"/>
                </a:cubicBezTo>
                <a:cubicBezTo>
                  <a:pt x="5502323" y="1711151"/>
                  <a:pt x="5460879" y="1667253"/>
                  <a:pt x="5413903" y="1635540"/>
                </a:cubicBezTo>
                <a:cubicBezTo>
                  <a:pt x="5408104" y="1631177"/>
                  <a:pt x="5404912" y="1630592"/>
                  <a:pt x="5399113" y="1626229"/>
                </a:cubicBezTo>
                <a:cubicBezTo>
                  <a:pt x="5381129" y="1616332"/>
                  <a:pt x="5353305" y="1588131"/>
                  <a:pt x="5340536" y="1585789"/>
                </a:cubicBezTo>
                <a:cubicBezTo>
                  <a:pt x="5344315" y="1583182"/>
                  <a:pt x="5341708" y="1579403"/>
                  <a:pt x="5336494" y="1571849"/>
                </a:cubicBezTo>
                <a:cubicBezTo>
                  <a:pt x="5329525" y="1573869"/>
                  <a:pt x="5305744" y="1559611"/>
                  <a:pt x="5305744" y="1559611"/>
                </a:cubicBezTo>
                <a:cubicBezTo>
                  <a:pt x="5312129" y="1560780"/>
                  <a:pt x="5312713" y="1557588"/>
                  <a:pt x="5312713" y="1557588"/>
                </a:cubicBezTo>
                <a:cubicBezTo>
                  <a:pt x="5286325" y="1539550"/>
                  <a:pt x="5270951" y="1533431"/>
                  <a:pt x="5246583" y="1522365"/>
                </a:cubicBezTo>
                <a:close/>
                <a:moveTo>
                  <a:pt x="4878235" y="1485529"/>
                </a:moveTo>
                <a:cubicBezTo>
                  <a:pt x="4875296" y="1484924"/>
                  <a:pt x="4872549" y="1485647"/>
                  <a:pt x="4870589" y="1490232"/>
                </a:cubicBezTo>
                <a:cubicBezTo>
                  <a:pt x="4867403" y="1496677"/>
                  <a:pt x="4871754" y="1502223"/>
                  <a:pt x="4876107" y="1507769"/>
                </a:cubicBezTo>
                <a:cubicBezTo>
                  <a:pt x="4881823" y="1513679"/>
                  <a:pt x="4888535" y="1521317"/>
                  <a:pt x="4892523" y="1528225"/>
                </a:cubicBezTo>
                <a:lnTo>
                  <a:pt x="4854485" y="1513109"/>
                </a:lnTo>
                <a:lnTo>
                  <a:pt x="4906663" y="1538241"/>
                </a:lnTo>
                <a:cubicBezTo>
                  <a:pt x="5019982" y="1601281"/>
                  <a:pt x="5124259" y="1674344"/>
                  <a:pt x="5219949" y="1757355"/>
                </a:cubicBezTo>
                <a:lnTo>
                  <a:pt x="5244849" y="1781311"/>
                </a:lnTo>
                <a:lnTo>
                  <a:pt x="5285425" y="1812833"/>
                </a:lnTo>
                <a:cubicBezTo>
                  <a:pt x="5332806" y="1853402"/>
                  <a:pt x="5378491" y="1896391"/>
                  <a:pt x="5422531" y="1941767"/>
                </a:cubicBezTo>
                <a:cubicBezTo>
                  <a:pt x="5425887" y="1945586"/>
                  <a:pt x="5426518" y="1948676"/>
                  <a:pt x="5427783" y="1954854"/>
                </a:cubicBezTo>
                <a:lnTo>
                  <a:pt x="5370401" y="1904986"/>
                </a:lnTo>
                <a:lnTo>
                  <a:pt x="5481735" y="2036160"/>
                </a:lnTo>
                <a:cubicBezTo>
                  <a:pt x="5536779" y="2108939"/>
                  <a:pt x="5599796" y="2176603"/>
                  <a:pt x="5639099" y="2260841"/>
                </a:cubicBezTo>
                <a:cubicBezTo>
                  <a:pt x="5738177" y="2476347"/>
                  <a:pt x="5832554" y="2693902"/>
                  <a:pt x="5880519" y="2928041"/>
                </a:cubicBezTo>
                <a:lnTo>
                  <a:pt x="5891569" y="2991409"/>
                </a:lnTo>
                <a:lnTo>
                  <a:pt x="5898861" y="3009164"/>
                </a:lnTo>
                <a:cubicBezTo>
                  <a:pt x="5901033" y="3017408"/>
                  <a:pt x="5902088" y="3025721"/>
                  <a:pt x="5902123" y="3033759"/>
                </a:cubicBezTo>
                <a:cubicBezTo>
                  <a:pt x="5907077" y="3105159"/>
                  <a:pt x="5918367" y="3177434"/>
                  <a:pt x="5917520" y="3250562"/>
                </a:cubicBezTo>
                <a:lnTo>
                  <a:pt x="5916015" y="3270366"/>
                </a:lnTo>
                <a:lnTo>
                  <a:pt x="5917712" y="3301456"/>
                </a:lnTo>
                <a:lnTo>
                  <a:pt x="5917722" y="3321050"/>
                </a:lnTo>
                <a:lnTo>
                  <a:pt x="5920837" y="3319470"/>
                </a:lnTo>
                <a:cubicBezTo>
                  <a:pt x="5927516" y="3313185"/>
                  <a:pt x="5928977" y="3302629"/>
                  <a:pt x="5938043" y="3297393"/>
                </a:cubicBezTo>
                <a:cubicBezTo>
                  <a:pt x="5944995" y="3331373"/>
                  <a:pt x="5943411" y="3364524"/>
                  <a:pt x="5940465" y="3397310"/>
                </a:cubicBezTo>
                <a:cubicBezTo>
                  <a:pt x="5923295" y="3624822"/>
                  <a:pt x="5885697" y="3846860"/>
                  <a:pt x="5799700" y="4058849"/>
                </a:cubicBezTo>
                <a:cubicBezTo>
                  <a:pt x="5738031" y="4207285"/>
                  <a:pt x="5662474" y="4347622"/>
                  <a:pt x="5565591" y="4474942"/>
                </a:cubicBezTo>
                <a:cubicBezTo>
                  <a:pt x="5536207" y="4513783"/>
                  <a:pt x="5497753" y="4542895"/>
                  <a:pt x="5478169" y="4588742"/>
                </a:cubicBezTo>
                <a:cubicBezTo>
                  <a:pt x="5473523" y="4600636"/>
                  <a:pt x="5462699" y="4613792"/>
                  <a:pt x="5480671" y="4622988"/>
                </a:cubicBezTo>
                <a:cubicBezTo>
                  <a:pt x="5498279" y="4633544"/>
                  <a:pt x="5500299" y="4615109"/>
                  <a:pt x="5508667" y="4605673"/>
                </a:cubicBezTo>
                <a:cubicBezTo>
                  <a:pt x="5516403" y="4593146"/>
                  <a:pt x="5523870" y="4576170"/>
                  <a:pt x="5545127" y="4573107"/>
                </a:cubicBezTo>
                <a:cubicBezTo>
                  <a:pt x="5512601" y="4656361"/>
                  <a:pt x="5452401" y="4717601"/>
                  <a:pt x="5400007" y="4782392"/>
                </a:cubicBezTo>
                <a:cubicBezTo>
                  <a:pt x="5365175" y="4819774"/>
                  <a:pt x="5322635" y="4847790"/>
                  <a:pt x="5292521" y="4889355"/>
                </a:cubicBezTo>
                <a:cubicBezTo>
                  <a:pt x="5336058" y="4863066"/>
                  <a:pt x="5367799" y="4826316"/>
                  <a:pt x="5403631" y="4790663"/>
                </a:cubicBezTo>
                <a:cubicBezTo>
                  <a:pt x="5456727" y="4745037"/>
                  <a:pt x="5498395" y="4687590"/>
                  <a:pt x="5540062" y="4630142"/>
                </a:cubicBezTo>
                <a:cubicBezTo>
                  <a:pt x="5653512" y="4473684"/>
                  <a:pt x="5755798" y="4309855"/>
                  <a:pt x="5835395" y="4132646"/>
                </a:cubicBezTo>
                <a:cubicBezTo>
                  <a:pt x="5844323" y="4110221"/>
                  <a:pt x="5857703" y="4087529"/>
                  <a:pt x="5860185" y="4061918"/>
                </a:cubicBezTo>
                <a:cubicBezTo>
                  <a:pt x="5845204" y="4057905"/>
                  <a:pt x="5844643" y="4070893"/>
                  <a:pt x="5841093" y="4078700"/>
                </a:cubicBezTo>
                <a:cubicBezTo>
                  <a:pt x="5777332" y="4229495"/>
                  <a:pt x="5699319" y="4373550"/>
                  <a:pt x="5603333" y="4508413"/>
                </a:cubicBezTo>
                <a:cubicBezTo>
                  <a:pt x="5598421" y="4515855"/>
                  <a:pt x="5595403" y="4532565"/>
                  <a:pt x="5582878" y="4524830"/>
                </a:cubicBezTo>
                <a:cubicBezTo>
                  <a:pt x="5570353" y="4517094"/>
                  <a:pt x="5578454" y="4503206"/>
                  <a:pt x="5585095" y="4494767"/>
                </a:cubicBezTo>
                <a:cubicBezTo>
                  <a:pt x="5614211" y="4451475"/>
                  <a:pt x="5648410" y="4411004"/>
                  <a:pt x="5674172" y="4363893"/>
                </a:cubicBezTo>
                <a:cubicBezTo>
                  <a:pt x="5784317" y="4159835"/>
                  <a:pt x="5881211" y="3950765"/>
                  <a:pt x="5923723" y="3721285"/>
                </a:cubicBezTo>
                <a:cubicBezTo>
                  <a:pt x="5956819" y="3543296"/>
                  <a:pt x="5962942" y="3362458"/>
                  <a:pt x="5954351" y="3182057"/>
                </a:cubicBezTo>
                <a:cubicBezTo>
                  <a:pt x="5952579" y="3145087"/>
                  <a:pt x="5951173" y="3106754"/>
                  <a:pt x="5955213" y="3069882"/>
                </a:cubicBezTo>
                <a:cubicBezTo>
                  <a:pt x="5997649" y="3352780"/>
                  <a:pt x="5981957" y="3634701"/>
                  <a:pt x="5905413" y="3914916"/>
                </a:cubicBezTo>
                <a:cubicBezTo>
                  <a:pt x="5924311" y="3909760"/>
                  <a:pt x="5921881" y="3891591"/>
                  <a:pt x="5937521" y="3876803"/>
                </a:cubicBezTo>
                <a:cubicBezTo>
                  <a:pt x="5924383" y="3925837"/>
                  <a:pt x="5913071" y="3968061"/>
                  <a:pt x="5898035" y="4007827"/>
                </a:cubicBezTo>
                <a:cubicBezTo>
                  <a:pt x="5874802" y="4067294"/>
                  <a:pt x="5850207" y="4126396"/>
                  <a:pt x="5827971" y="4187589"/>
                </a:cubicBezTo>
                <a:cubicBezTo>
                  <a:pt x="5825515" y="4191311"/>
                  <a:pt x="5817511" y="4199385"/>
                  <a:pt x="5826681" y="4203302"/>
                </a:cubicBezTo>
                <a:cubicBezTo>
                  <a:pt x="5834123" y="4208217"/>
                  <a:pt x="5836677" y="4198681"/>
                  <a:pt x="5839500" y="4193599"/>
                </a:cubicBezTo>
                <a:cubicBezTo>
                  <a:pt x="5874919" y="4121338"/>
                  <a:pt x="5915055" y="4053263"/>
                  <a:pt x="5929413" y="3972440"/>
                </a:cubicBezTo>
                <a:cubicBezTo>
                  <a:pt x="5931433" y="3954003"/>
                  <a:pt x="5946077" y="3937490"/>
                  <a:pt x="5953909" y="3919150"/>
                </a:cubicBezTo>
                <a:cubicBezTo>
                  <a:pt x="5988697" y="3843802"/>
                  <a:pt x="5993155" y="3761787"/>
                  <a:pt x="6006151" y="3680598"/>
                </a:cubicBezTo>
                <a:cubicBezTo>
                  <a:pt x="6032801" y="3499423"/>
                  <a:pt x="6043375" y="3318318"/>
                  <a:pt x="6033787" y="3136190"/>
                </a:cubicBezTo>
                <a:lnTo>
                  <a:pt x="6028315" y="3093047"/>
                </a:lnTo>
                <a:lnTo>
                  <a:pt x="6025816" y="3080224"/>
                </a:lnTo>
                <a:cubicBezTo>
                  <a:pt x="5935491" y="2657444"/>
                  <a:pt x="5757041" y="2277825"/>
                  <a:pt x="5462620" y="1953402"/>
                </a:cubicBezTo>
                <a:cubicBezTo>
                  <a:pt x="5354097" y="1834635"/>
                  <a:pt x="5233654" y="1726527"/>
                  <a:pt x="5104061" y="1632541"/>
                </a:cubicBezTo>
                <a:cubicBezTo>
                  <a:pt x="5070486" y="1608282"/>
                  <a:pt x="5036425" y="1584127"/>
                  <a:pt x="5003371" y="1558743"/>
                </a:cubicBezTo>
                <a:lnTo>
                  <a:pt x="4962275" y="1523505"/>
                </a:lnTo>
                <a:lnTo>
                  <a:pt x="4951211" y="1516212"/>
                </a:lnTo>
                <a:cubicBezTo>
                  <a:pt x="4931244" y="1503565"/>
                  <a:pt x="4908091" y="1497361"/>
                  <a:pt x="4887030" y="1488798"/>
                </a:cubicBezTo>
                <a:cubicBezTo>
                  <a:pt x="4884306" y="1488068"/>
                  <a:pt x="4881175" y="1486134"/>
                  <a:pt x="4878235" y="1485529"/>
                </a:cubicBezTo>
                <a:close/>
                <a:moveTo>
                  <a:pt x="2488089" y="1468873"/>
                </a:moveTo>
                <a:lnTo>
                  <a:pt x="2483339" y="1472039"/>
                </a:lnTo>
                <a:lnTo>
                  <a:pt x="2486645" y="1469475"/>
                </a:lnTo>
                <a:close/>
                <a:moveTo>
                  <a:pt x="2428360" y="1430993"/>
                </a:moveTo>
                <a:lnTo>
                  <a:pt x="2428663" y="1432410"/>
                </a:lnTo>
                <a:cubicBezTo>
                  <a:pt x="2428663" y="1432410"/>
                  <a:pt x="2428663" y="1432410"/>
                  <a:pt x="2423991" y="1433409"/>
                </a:cubicBezTo>
                <a:close/>
                <a:moveTo>
                  <a:pt x="3312724" y="1415766"/>
                </a:moveTo>
                <a:cubicBezTo>
                  <a:pt x="3298724" y="1415532"/>
                  <a:pt x="3275527" y="1423378"/>
                  <a:pt x="3256489" y="1428825"/>
                </a:cubicBezTo>
                <a:cubicBezTo>
                  <a:pt x="3236572" y="1437551"/>
                  <a:pt x="3220815" y="1443875"/>
                  <a:pt x="3219056" y="1450437"/>
                </a:cubicBezTo>
                <a:cubicBezTo>
                  <a:pt x="3233935" y="1447393"/>
                  <a:pt x="3249693" y="1441068"/>
                  <a:pt x="3264571" y="1438022"/>
                </a:cubicBezTo>
                <a:cubicBezTo>
                  <a:pt x="3226495" y="1448914"/>
                  <a:pt x="3187540" y="1463087"/>
                  <a:pt x="3145305" y="1476381"/>
                </a:cubicBezTo>
                <a:cubicBezTo>
                  <a:pt x="3132183" y="1472865"/>
                  <a:pt x="3100669" y="1485515"/>
                  <a:pt x="3078993" y="1500802"/>
                </a:cubicBezTo>
                <a:cubicBezTo>
                  <a:pt x="3063234" y="1507127"/>
                  <a:pt x="3043317" y="1515853"/>
                  <a:pt x="3032598" y="1516496"/>
                </a:cubicBezTo>
                <a:cubicBezTo>
                  <a:pt x="3030840" y="1523057"/>
                  <a:pt x="3019241" y="1526981"/>
                  <a:pt x="3010922" y="1531783"/>
                </a:cubicBezTo>
                <a:cubicBezTo>
                  <a:pt x="2397416" y="1813901"/>
                  <a:pt x="1938644" y="2397651"/>
                  <a:pt x="1851594" y="3116159"/>
                </a:cubicBezTo>
                <a:cubicBezTo>
                  <a:pt x="1816245" y="3405532"/>
                  <a:pt x="1842815" y="3686884"/>
                  <a:pt x="1924097" y="3947739"/>
                </a:cubicBezTo>
                <a:cubicBezTo>
                  <a:pt x="2106925" y="4538160"/>
                  <a:pt x="2556758" y="5024337"/>
                  <a:pt x="3149544" y="5239426"/>
                </a:cubicBezTo>
                <a:cubicBezTo>
                  <a:pt x="3191309" y="5254132"/>
                  <a:pt x="3229793" y="5267959"/>
                  <a:pt x="3272436" y="5279386"/>
                </a:cubicBezTo>
                <a:cubicBezTo>
                  <a:pt x="3272436" y="5279386"/>
                  <a:pt x="3271557" y="5282667"/>
                  <a:pt x="3274837" y="5283546"/>
                </a:cubicBezTo>
                <a:cubicBezTo>
                  <a:pt x="3284679" y="5286183"/>
                  <a:pt x="3284679" y="5286183"/>
                  <a:pt x="3284679" y="5286183"/>
                </a:cubicBezTo>
                <a:cubicBezTo>
                  <a:pt x="3284679" y="5286183"/>
                  <a:pt x="3287958" y="5287061"/>
                  <a:pt x="3288837" y="5283781"/>
                </a:cubicBezTo>
                <a:lnTo>
                  <a:pt x="3380685" y="5308392"/>
                </a:lnTo>
                <a:cubicBezTo>
                  <a:pt x="3453730" y="5324447"/>
                  <a:pt x="3524373" y="5336344"/>
                  <a:pt x="3599176" y="5345842"/>
                </a:cubicBezTo>
                <a:cubicBezTo>
                  <a:pt x="3840865" y="5375442"/>
                  <a:pt x="4079979" y="5362166"/>
                  <a:pt x="4305801" y="5306654"/>
                </a:cubicBezTo>
                <a:cubicBezTo>
                  <a:pt x="4432271" y="5280773"/>
                  <a:pt x="4559857" y="5237611"/>
                  <a:pt x="4682641" y="5186132"/>
                </a:cubicBezTo>
                <a:cubicBezTo>
                  <a:pt x="4678481" y="5188533"/>
                  <a:pt x="4678481" y="5188533"/>
                  <a:pt x="4677601" y="5191813"/>
                </a:cubicBezTo>
                <a:cubicBezTo>
                  <a:pt x="4689201" y="5187890"/>
                  <a:pt x="4713277" y="5176762"/>
                  <a:pt x="4733195" y="5168036"/>
                </a:cubicBezTo>
                <a:cubicBezTo>
                  <a:pt x="4745671" y="5160831"/>
                  <a:pt x="4757271" y="5156907"/>
                  <a:pt x="4762309" y="5151226"/>
                </a:cubicBezTo>
                <a:cubicBezTo>
                  <a:pt x="4791423" y="5134417"/>
                  <a:pt x="4823817" y="5118487"/>
                  <a:pt x="4852933" y="5101678"/>
                </a:cubicBezTo>
                <a:cubicBezTo>
                  <a:pt x="4864531" y="5097753"/>
                  <a:pt x="4877009" y="5090549"/>
                  <a:pt x="4886205" y="5082466"/>
                </a:cubicBezTo>
                <a:cubicBezTo>
                  <a:pt x="4985149" y="5028114"/>
                  <a:pt x="5076887" y="4961284"/>
                  <a:pt x="5167103" y="4887015"/>
                </a:cubicBezTo>
                <a:cubicBezTo>
                  <a:pt x="5142791" y="4912143"/>
                  <a:pt x="5118479" y="4937271"/>
                  <a:pt x="5099205" y="4956718"/>
                </a:cubicBezTo>
                <a:cubicBezTo>
                  <a:pt x="5092645" y="4954959"/>
                  <a:pt x="5082569" y="4966322"/>
                  <a:pt x="5079289" y="4965443"/>
                </a:cubicBezTo>
                <a:cubicBezTo>
                  <a:pt x="5055855" y="4987291"/>
                  <a:pt x="5021703" y="5009782"/>
                  <a:pt x="5004830" y="5033389"/>
                </a:cubicBezTo>
                <a:cubicBezTo>
                  <a:pt x="5017309" y="5026183"/>
                  <a:pt x="5033945" y="5016579"/>
                  <a:pt x="5039627" y="5021617"/>
                </a:cubicBezTo>
                <a:cubicBezTo>
                  <a:pt x="5057143" y="5008731"/>
                  <a:pt x="5097211" y="4977279"/>
                  <a:pt x="5104007" y="4965035"/>
                </a:cubicBezTo>
                <a:cubicBezTo>
                  <a:pt x="5112326" y="4960233"/>
                  <a:pt x="5119767" y="4958711"/>
                  <a:pt x="5123925" y="4956309"/>
                </a:cubicBezTo>
                <a:cubicBezTo>
                  <a:pt x="5142320" y="4940144"/>
                  <a:pt x="5153275" y="4925499"/>
                  <a:pt x="5168389" y="4908456"/>
                </a:cubicBezTo>
                <a:cubicBezTo>
                  <a:pt x="5181747" y="4897970"/>
                  <a:pt x="5207581" y="4880282"/>
                  <a:pt x="5221817" y="4866518"/>
                </a:cubicBezTo>
                <a:cubicBezTo>
                  <a:pt x="5226855" y="4860837"/>
                  <a:pt x="5224452" y="4856678"/>
                  <a:pt x="5229491" y="4850995"/>
                </a:cubicBezTo>
                <a:cubicBezTo>
                  <a:pt x="5234529" y="4845314"/>
                  <a:pt x="5250287" y="4838989"/>
                  <a:pt x="5255325" y="4833307"/>
                </a:cubicBezTo>
                <a:cubicBezTo>
                  <a:pt x="5273721" y="4817141"/>
                  <a:pt x="5276357" y="4807300"/>
                  <a:pt x="5282919" y="4809059"/>
                </a:cubicBezTo>
                <a:cubicBezTo>
                  <a:pt x="5289714" y="4796816"/>
                  <a:pt x="5304828" y="4779770"/>
                  <a:pt x="5300025" y="4771452"/>
                </a:cubicBezTo>
                <a:cubicBezTo>
                  <a:pt x="5293229" y="4783696"/>
                  <a:pt x="5290828" y="4779536"/>
                  <a:pt x="5287549" y="4778657"/>
                </a:cubicBezTo>
                <a:cubicBezTo>
                  <a:pt x="5535469" y="4535697"/>
                  <a:pt x="5723529" y="4227476"/>
                  <a:pt x="5820215" y="3866642"/>
                </a:cubicBezTo>
                <a:lnTo>
                  <a:pt x="5820377" y="3865901"/>
                </a:lnTo>
                <a:lnTo>
                  <a:pt x="5786815" y="3962149"/>
                </a:lnTo>
                <a:cubicBezTo>
                  <a:pt x="5759509" y="4027726"/>
                  <a:pt x="5725426" y="4090021"/>
                  <a:pt x="5689529" y="4151358"/>
                </a:cubicBezTo>
                <a:lnTo>
                  <a:pt x="5652275" y="4213857"/>
                </a:lnTo>
                <a:lnTo>
                  <a:pt x="5648119" y="4223529"/>
                </a:lnTo>
                <a:cubicBezTo>
                  <a:pt x="5556231" y="4415569"/>
                  <a:pt x="5434887" y="4589609"/>
                  <a:pt x="5290656" y="4740814"/>
                </a:cubicBezTo>
                <a:cubicBezTo>
                  <a:pt x="5292413" y="4734255"/>
                  <a:pt x="5296573" y="4731854"/>
                  <a:pt x="5293293" y="4730974"/>
                </a:cubicBezTo>
                <a:cubicBezTo>
                  <a:pt x="5267459" y="4748662"/>
                  <a:pt x="5268980" y="4756103"/>
                  <a:pt x="5252987" y="4776428"/>
                </a:cubicBezTo>
                <a:cubicBezTo>
                  <a:pt x="5237872" y="4793472"/>
                  <a:pt x="5218599" y="4812919"/>
                  <a:pt x="5200205" y="4829085"/>
                </a:cubicBezTo>
                <a:cubicBezTo>
                  <a:pt x="5192765" y="4830607"/>
                  <a:pt x="5169333" y="4852454"/>
                  <a:pt x="5167573" y="4859015"/>
                </a:cubicBezTo>
                <a:cubicBezTo>
                  <a:pt x="5164293" y="4858136"/>
                  <a:pt x="5164293" y="4858136"/>
                  <a:pt x="5164293" y="4858136"/>
                </a:cubicBezTo>
                <a:cubicBezTo>
                  <a:pt x="5163415" y="4861416"/>
                  <a:pt x="5163415" y="4861416"/>
                  <a:pt x="5163415" y="4861416"/>
                </a:cubicBezTo>
                <a:cubicBezTo>
                  <a:pt x="5160135" y="4860538"/>
                  <a:pt x="5160135" y="4860538"/>
                  <a:pt x="5159255" y="4863817"/>
                </a:cubicBezTo>
                <a:cubicBezTo>
                  <a:pt x="5158377" y="4867098"/>
                  <a:pt x="5158377" y="4867098"/>
                  <a:pt x="5154217" y="4869499"/>
                </a:cubicBezTo>
                <a:cubicBezTo>
                  <a:pt x="5150057" y="4871900"/>
                  <a:pt x="5140859" y="4879984"/>
                  <a:pt x="5139981" y="4883264"/>
                </a:cubicBezTo>
                <a:cubicBezTo>
                  <a:pt x="5122465" y="4896150"/>
                  <a:pt x="5104949" y="4909035"/>
                  <a:pt x="5089836" y="4926080"/>
                </a:cubicBezTo>
                <a:cubicBezTo>
                  <a:pt x="5081517" y="4930882"/>
                  <a:pt x="5073198" y="4935686"/>
                  <a:pt x="5068160" y="4941369"/>
                </a:cubicBezTo>
                <a:cubicBezTo>
                  <a:pt x="5050645" y="4954253"/>
                  <a:pt x="5033129" y="4967138"/>
                  <a:pt x="5019772" y="4977623"/>
                </a:cubicBezTo>
                <a:cubicBezTo>
                  <a:pt x="5019772" y="4977623"/>
                  <a:pt x="5020651" y="4974342"/>
                  <a:pt x="5020651" y="4974342"/>
                </a:cubicBezTo>
                <a:cubicBezTo>
                  <a:pt x="5016491" y="4976743"/>
                  <a:pt x="5012333" y="4979146"/>
                  <a:pt x="5011455" y="4982425"/>
                </a:cubicBezTo>
                <a:cubicBezTo>
                  <a:pt x="4802143" y="5133774"/>
                  <a:pt x="4561379" y="5245050"/>
                  <a:pt x="4305801" y="5306654"/>
                </a:cubicBezTo>
                <a:cubicBezTo>
                  <a:pt x="4014782" y="5369308"/>
                  <a:pt x="3709183" y="5368285"/>
                  <a:pt x="3402360" y="5293105"/>
                </a:cubicBezTo>
                <a:cubicBezTo>
                  <a:pt x="3403239" y="5289824"/>
                  <a:pt x="3403239" y="5289824"/>
                  <a:pt x="3404117" y="5286544"/>
                </a:cubicBezTo>
                <a:cubicBezTo>
                  <a:pt x="3450920" y="5295568"/>
                  <a:pt x="3475876" y="5281161"/>
                  <a:pt x="3508914" y="5275951"/>
                </a:cubicBezTo>
                <a:cubicBezTo>
                  <a:pt x="3508914" y="5275951"/>
                  <a:pt x="3503232" y="5270912"/>
                  <a:pt x="3496671" y="5269154"/>
                </a:cubicBezTo>
                <a:cubicBezTo>
                  <a:pt x="3511551" y="5266108"/>
                  <a:pt x="3536915" y="5276421"/>
                  <a:pt x="3557475" y="5278414"/>
                </a:cubicBezTo>
                <a:cubicBezTo>
                  <a:pt x="3575633" y="5276248"/>
                  <a:pt x="3604513" y="5273439"/>
                  <a:pt x="3604513" y="5273439"/>
                </a:cubicBezTo>
                <a:cubicBezTo>
                  <a:pt x="3602991" y="5265999"/>
                  <a:pt x="3589869" y="5262484"/>
                  <a:pt x="3573468" y="5258088"/>
                </a:cubicBezTo>
                <a:cubicBezTo>
                  <a:pt x="3574346" y="5254808"/>
                  <a:pt x="3577628" y="5255687"/>
                  <a:pt x="3577628" y="5255687"/>
                </a:cubicBezTo>
                <a:cubicBezTo>
                  <a:pt x="3580907" y="5256567"/>
                  <a:pt x="3580907" y="5256567"/>
                  <a:pt x="3580907" y="5256567"/>
                </a:cubicBezTo>
                <a:cubicBezTo>
                  <a:pt x="3580907" y="5256567"/>
                  <a:pt x="3584189" y="5257445"/>
                  <a:pt x="3584189" y="5257445"/>
                </a:cubicBezTo>
                <a:cubicBezTo>
                  <a:pt x="3584189" y="5257445"/>
                  <a:pt x="3587468" y="5258324"/>
                  <a:pt x="3590749" y="5259203"/>
                </a:cubicBezTo>
                <a:cubicBezTo>
                  <a:pt x="3591627" y="5255923"/>
                  <a:pt x="3591627" y="5255923"/>
                  <a:pt x="3588347" y="5255045"/>
                </a:cubicBezTo>
                <a:cubicBezTo>
                  <a:pt x="3588347" y="5255045"/>
                  <a:pt x="3585065" y="5254166"/>
                  <a:pt x="3585065" y="5254166"/>
                </a:cubicBezTo>
                <a:cubicBezTo>
                  <a:pt x="3581787" y="5253286"/>
                  <a:pt x="3581787" y="5253286"/>
                  <a:pt x="3581787" y="5253286"/>
                </a:cubicBezTo>
                <a:cubicBezTo>
                  <a:pt x="3603227" y="5252000"/>
                  <a:pt x="3576983" y="5244968"/>
                  <a:pt x="3572825" y="5247369"/>
                </a:cubicBezTo>
                <a:cubicBezTo>
                  <a:pt x="3569546" y="5246491"/>
                  <a:pt x="3568666" y="5249771"/>
                  <a:pt x="3568666" y="5249771"/>
                </a:cubicBezTo>
                <a:cubicBezTo>
                  <a:pt x="3568666" y="5249771"/>
                  <a:pt x="3571945" y="5250649"/>
                  <a:pt x="3571945" y="5250649"/>
                </a:cubicBezTo>
                <a:cubicBezTo>
                  <a:pt x="3574346" y="5254808"/>
                  <a:pt x="3574346" y="5254808"/>
                  <a:pt x="3574346" y="5254808"/>
                </a:cubicBezTo>
                <a:cubicBezTo>
                  <a:pt x="3574346" y="5254808"/>
                  <a:pt x="3567787" y="5253050"/>
                  <a:pt x="3564507" y="5252171"/>
                </a:cubicBezTo>
                <a:cubicBezTo>
                  <a:pt x="3561226" y="5251293"/>
                  <a:pt x="3561226" y="5251293"/>
                  <a:pt x="3561226" y="5251293"/>
                </a:cubicBezTo>
                <a:cubicBezTo>
                  <a:pt x="3538264" y="5245140"/>
                  <a:pt x="3523621" y="5234185"/>
                  <a:pt x="3539378" y="5227860"/>
                </a:cubicBezTo>
                <a:cubicBezTo>
                  <a:pt x="3555779" y="5232255"/>
                  <a:pt x="3556660" y="5228975"/>
                  <a:pt x="3579620" y="5235127"/>
                </a:cubicBezTo>
                <a:cubicBezTo>
                  <a:pt x="3584659" y="5229445"/>
                  <a:pt x="3571539" y="5225930"/>
                  <a:pt x="3570016" y="5218490"/>
                </a:cubicBezTo>
                <a:cubicBezTo>
                  <a:pt x="3602174" y="5216559"/>
                  <a:pt x="3653138" y="5223183"/>
                  <a:pt x="3657531" y="5206782"/>
                </a:cubicBezTo>
                <a:cubicBezTo>
                  <a:pt x="3657531" y="5206782"/>
                  <a:pt x="3660813" y="5207661"/>
                  <a:pt x="3660813" y="5207661"/>
                </a:cubicBezTo>
                <a:cubicBezTo>
                  <a:pt x="3660813" y="5207661"/>
                  <a:pt x="3667372" y="5209419"/>
                  <a:pt x="3667372" y="5209419"/>
                </a:cubicBezTo>
                <a:cubicBezTo>
                  <a:pt x="3671532" y="5207018"/>
                  <a:pt x="3674811" y="5207897"/>
                  <a:pt x="3671532" y="5207018"/>
                </a:cubicBezTo>
                <a:cubicBezTo>
                  <a:pt x="3678971" y="5205495"/>
                  <a:pt x="3688811" y="5208131"/>
                  <a:pt x="3710251" y="5206844"/>
                </a:cubicBezTo>
                <a:cubicBezTo>
                  <a:pt x="3717691" y="5205323"/>
                  <a:pt x="3720971" y="5206202"/>
                  <a:pt x="3724251" y="5207082"/>
                </a:cubicBezTo>
                <a:cubicBezTo>
                  <a:pt x="3724251" y="5207082"/>
                  <a:pt x="3728411" y="5204679"/>
                  <a:pt x="3728411" y="5204679"/>
                </a:cubicBezTo>
                <a:cubicBezTo>
                  <a:pt x="3731689" y="5205559"/>
                  <a:pt x="3731689" y="5205559"/>
                  <a:pt x="3731689" y="5205559"/>
                </a:cubicBezTo>
                <a:cubicBezTo>
                  <a:pt x="3734971" y="5206438"/>
                  <a:pt x="3732569" y="5202278"/>
                  <a:pt x="3732569" y="5202278"/>
                </a:cubicBezTo>
                <a:cubicBezTo>
                  <a:pt x="3735849" y="5203156"/>
                  <a:pt x="3735849" y="5203156"/>
                  <a:pt x="3735849" y="5203156"/>
                </a:cubicBezTo>
                <a:cubicBezTo>
                  <a:pt x="3736729" y="5199877"/>
                  <a:pt x="3749851" y="5203393"/>
                  <a:pt x="3750729" y="5200112"/>
                </a:cubicBezTo>
                <a:cubicBezTo>
                  <a:pt x="3733448" y="5198998"/>
                  <a:pt x="3747448" y="5199234"/>
                  <a:pt x="3741767" y="5194194"/>
                </a:cubicBezTo>
                <a:cubicBezTo>
                  <a:pt x="3762327" y="5196187"/>
                  <a:pt x="3736085" y="5189156"/>
                  <a:pt x="3750085" y="5189392"/>
                </a:cubicBezTo>
                <a:cubicBezTo>
                  <a:pt x="3770646" y="5191385"/>
                  <a:pt x="3771525" y="5188105"/>
                  <a:pt x="3780485" y="5194022"/>
                </a:cubicBezTo>
                <a:cubicBezTo>
                  <a:pt x="3783123" y="5184181"/>
                  <a:pt x="3830805" y="5189925"/>
                  <a:pt x="3866245" y="5188875"/>
                </a:cubicBezTo>
                <a:cubicBezTo>
                  <a:pt x="3869525" y="5189754"/>
                  <a:pt x="3876965" y="5188230"/>
                  <a:pt x="3887685" y="5187588"/>
                </a:cubicBezTo>
                <a:cubicBezTo>
                  <a:pt x="3919843" y="5185657"/>
                  <a:pt x="3941283" y="5184371"/>
                  <a:pt x="3959442" y="5182205"/>
                </a:cubicBezTo>
                <a:cubicBezTo>
                  <a:pt x="3966881" y="5180683"/>
                  <a:pt x="3962723" y="5183084"/>
                  <a:pt x="3969282" y="5184842"/>
                </a:cubicBezTo>
                <a:cubicBezTo>
                  <a:pt x="3970163" y="5181561"/>
                  <a:pt x="3974321" y="5179160"/>
                  <a:pt x="3977601" y="5180038"/>
                </a:cubicBezTo>
                <a:cubicBezTo>
                  <a:pt x="3980882" y="5180918"/>
                  <a:pt x="3969282" y="5184842"/>
                  <a:pt x="3980003" y="5184199"/>
                </a:cubicBezTo>
                <a:cubicBezTo>
                  <a:pt x="3999041" y="5178752"/>
                  <a:pt x="4001441" y="5182911"/>
                  <a:pt x="4031200" y="5176823"/>
                </a:cubicBezTo>
                <a:cubicBezTo>
                  <a:pt x="4029443" y="5183383"/>
                  <a:pt x="4029443" y="5183383"/>
                  <a:pt x="4029443" y="5183383"/>
                </a:cubicBezTo>
                <a:cubicBezTo>
                  <a:pt x="4047601" y="5181216"/>
                  <a:pt x="4055041" y="5179694"/>
                  <a:pt x="4041919" y="5176178"/>
                </a:cubicBezTo>
                <a:cubicBezTo>
                  <a:pt x="4053518" y="5172254"/>
                  <a:pt x="4055041" y="5179694"/>
                  <a:pt x="4067519" y="5172490"/>
                </a:cubicBezTo>
                <a:cubicBezTo>
                  <a:pt x="4063359" y="5174891"/>
                  <a:pt x="4066640" y="5175770"/>
                  <a:pt x="4070798" y="5173369"/>
                </a:cubicBezTo>
                <a:cubicBezTo>
                  <a:pt x="4069920" y="5176648"/>
                  <a:pt x="4069920" y="5176648"/>
                  <a:pt x="4069920" y="5176648"/>
                </a:cubicBezTo>
                <a:cubicBezTo>
                  <a:pt x="4065760" y="5179051"/>
                  <a:pt x="4069041" y="5179929"/>
                  <a:pt x="4069041" y="5179929"/>
                </a:cubicBezTo>
                <a:cubicBezTo>
                  <a:pt x="4072321" y="5180808"/>
                  <a:pt x="4072321" y="5180808"/>
                  <a:pt x="4072321" y="5180808"/>
                </a:cubicBezTo>
                <a:cubicBezTo>
                  <a:pt x="4057442" y="5183854"/>
                  <a:pt x="4078003" y="5185846"/>
                  <a:pt x="4089601" y="5181922"/>
                </a:cubicBezTo>
                <a:cubicBezTo>
                  <a:pt x="4088723" y="5185204"/>
                  <a:pt x="4088723" y="5185204"/>
                  <a:pt x="4088723" y="5185204"/>
                </a:cubicBezTo>
                <a:cubicBezTo>
                  <a:pt x="4088723" y="5185204"/>
                  <a:pt x="4088723" y="5185204"/>
                  <a:pt x="4092003" y="5186082"/>
                </a:cubicBezTo>
                <a:cubicBezTo>
                  <a:pt x="4092003" y="5186082"/>
                  <a:pt x="4096162" y="5183681"/>
                  <a:pt x="4096162" y="5183681"/>
                </a:cubicBezTo>
                <a:cubicBezTo>
                  <a:pt x="4114321" y="5181514"/>
                  <a:pt x="4139919" y="5177828"/>
                  <a:pt x="4165519" y="5174139"/>
                </a:cubicBezTo>
                <a:cubicBezTo>
                  <a:pt x="4191995" y="5167169"/>
                  <a:pt x="4218473" y="5160202"/>
                  <a:pt x="4237513" y="5154755"/>
                </a:cubicBezTo>
                <a:cubicBezTo>
                  <a:pt x="4244511" y="5154873"/>
                  <a:pt x="4253811" y="5152971"/>
                  <a:pt x="4264671" y="5150166"/>
                </a:cubicBezTo>
                <a:lnTo>
                  <a:pt x="4275426" y="5147224"/>
                </a:lnTo>
                <a:lnTo>
                  <a:pt x="4225547" y="5155482"/>
                </a:lnTo>
                <a:cubicBezTo>
                  <a:pt x="4078476" y="5175336"/>
                  <a:pt x="3929093" y="5177603"/>
                  <a:pt x="3777147" y="5162641"/>
                </a:cubicBezTo>
                <a:cubicBezTo>
                  <a:pt x="3719477" y="5157145"/>
                  <a:pt x="3662833" y="5157785"/>
                  <a:pt x="3607202" y="5141859"/>
                </a:cubicBezTo>
                <a:cubicBezTo>
                  <a:pt x="3601885" y="5140225"/>
                  <a:pt x="3595751" y="5141251"/>
                  <a:pt x="3593293" y="5134094"/>
                </a:cubicBezTo>
                <a:cubicBezTo>
                  <a:pt x="3593495" y="5127754"/>
                  <a:pt x="3598607" y="5128161"/>
                  <a:pt x="3601266" y="5128978"/>
                </a:cubicBezTo>
                <a:cubicBezTo>
                  <a:pt x="3784099" y="5158958"/>
                  <a:pt x="3966912" y="5151101"/>
                  <a:pt x="4150133" y="5138134"/>
                </a:cubicBezTo>
                <a:cubicBezTo>
                  <a:pt x="4246243" y="5132159"/>
                  <a:pt x="4339069" y="5106553"/>
                  <a:pt x="4432718" y="5085854"/>
                </a:cubicBezTo>
                <a:cubicBezTo>
                  <a:pt x="4443555" y="5082783"/>
                  <a:pt x="4455823" y="5080731"/>
                  <a:pt x="4466865" y="5078886"/>
                </a:cubicBezTo>
                <a:cubicBezTo>
                  <a:pt x="4472795" y="5076634"/>
                  <a:pt x="4482203" y="5080106"/>
                  <a:pt x="4480356" y="5069063"/>
                </a:cubicBezTo>
                <a:cubicBezTo>
                  <a:pt x="4478511" y="5058020"/>
                  <a:pt x="4471355" y="5060478"/>
                  <a:pt x="4462767" y="5061914"/>
                </a:cubicBezTo>
                <a:cubicBezTo>
                  <a:pt x="4419420" y="5074203"/>
                  <a:pt x="4374641" y="5085472"/>
                  <a:pt x="4330679" y="5094082"/>
                </a:cubicBezTo>
                <a:cubicBezTo>
                  <a:pt x="4284672" y="5102718"/>
                  <a:pt x="4238818" y="5109910"/>
                  <a:pt x="4193125" y="5115579"/>
                </a:cubicBezTo>
                <a:lnTo>
                  <a:pt x="4089964" y="5124917"/>
                </a:lnTo>
                <a:lnTo>
                  <a:pt x="4090545" y="5125923"/>
                </a:lnTo>
                <a:cubicBezTo>
                  <a:pt x="4075664" y="5128968"/>
                  <a:pt x="4061664" y="5128732"/>
                  <a:pt x="4046787" y="5131776"/>
                </a:cubicBezTo>
                <a:cubicBezTo>
                  <a:pt x="4047666" y="5128497"/>
                  <a:pt x="4047666" y="5128497"/>
                  <a:pt x="4047666" y="5128497"/>
                </a:cubicBezTo>
                <a:cubicBezTo>
                  <a:pt x="4050945" y="5129375"/>
                  <a:pt x="4058384" y="5127852"/>
                  <a:pt x="4061664" y="5128732"/>
                </a:cubicBezTo>
                <a:lnTo>
                  <a:pt x="4072652" y="5126484"/>
                </a:lnTo>
                <a:lnTo>
                  <a:pt x="4056543" y="5127942"/>
                </a:lnTo>
                <a:lnTo>
                  <a:pt x="4025363" y="5128577"/>
                </a:lnTo>
                <a:lnTo>
                  <a:pt x="4022586" y="5131884"/>
                </a:lnTo>
                <a:cubicBezTo>
                  <a:pt x="4021846" y="5133005"/>
                  <a:pt x="4021627" y="5133825"/>
                  <a:pt x="4021187" y="5135465"/>
                </a:cubicBezTo>
                <a:cubicBezTo>
                  <a:pt x="4017907" y="5134587"/>
                  <a:pt x="4014626" y="5133707"/>
                  <a:pt x="4014626" y="5133707"/>
                </a:cubicBezTo>
                <a:cubicBezTo>
                  <a:pt x="4015505" y="5130427"/>
                  <a:pt x="4018785" y="5131306"/>
                  <a:pt x="4015505" y="5130427"/>
                </a:cubicBezTo>
                <a:cubicBezTo>
                  <a:pt x="4015505" y="5130427"/>
                  <a:pt x="4015505" y="5130427"/>
                  <a:pt x="4012226" y="5129549"/>
                </a:cubicBezTo>
                <a:lnTo>
                  <a:pt x="4009785" y="5128894"/>
                </a:lnTo>
                <a:lnTo>
                  <a:pt x="3920985" y="5130704"/>
                </a:lnTo>
                <a:lnTo>
                  <a:pt x="3897176" y="5129411"/>
                </a:lnTo>
                <a:lnTo>
                  <a:pt x="3884467" y="5133988"/>
                </a:lnTo>
                <a:cubicBezTo>
                  <a:pt x="3875506" y="5128073"/>
                  <a:pt x="3871346" y="5130474"/>
                  <a:pt x="3866308" y="5136155"/>
                </a:cubicBezTo>
                <a:cubicBezTo>
                  <a:pt x="3859747" y="5134396"/>
                  <a:pt x="3853187" y="5132639"/>
                  <a:pt x="3845748" y="5134162"/>
                </a:cubicBezTo>
                <a:cubicBezTo>
                  <a:pt x="3838309" y="5135685"/>
                  <a:pt x="3828467" y="5133048"/>
                  <a:pt x="3821029" y="5134569"/>
                </a:cubicBezTo>
                <a:cubicBezTo>
                  <a:pt x="3810308" y="5135213"/>
                  <a:pt x="3797187" y="5131697"/>
                  <a:pt x="3786467" y="5132340"/>
                </a:cubicBezTo>
                <a:cubicBezTo>
                  <a:pt x="3779906" y="5130583"/>
                  <a:pt x="3769188" y="5131227"/>
                  <a:pt x="3765027" y="5133628"/>
                </a:cubicBezTo>
                <a:cubicBezTo>
                  <a:pt x="3761746" y="5132748"/>
                  <a:pt x="3761746" y="5132748"/>
                  <a:pt x="3761746" y="5132748"/>
                </a:cubicBezTo>
                <a:cubicBezTo>
                  <a:pt x="3751027" y="5133392"/>
                  <a:pt x="3744467" y="5131634"/>
                  <a:pt x="3733748" y="5132278"/>
                </a:cubicBezTo>
                <a:cubicBezTo>
                  <a:pt x="3727187" y="5130519"/>
                  <a:pt x="3719747" y="5132042"/>
                  <a:pt x="3709028" y="5132686"/>
                </a:cubicBezTo>
                <a:cubicBezTo>
                  <a:pt x="3700066" y="5126768"/>
                  <a:pt x="3699188" y="5130049"/>
                  <a:pt x="3698308" y="5133328"/>
                </a:cubicBezTo>
                <a:cubicBezTo>
                  <a:pt x="3695027" y="5132450"/>
                  <a:pt x="3695027" y="5132450"/>
                  <a:pt x="3695027" y="5132450"/>
                </a:cubicBezTo>
                <a:cubicBezTo>
                  <a:pt x="3691747" y="5131570"/>
                  <a:pt x="3689347" y="5127412"/>
                  <a:pt x="3686065" y="5126532"/>
                </a:cubicBezTo>
                <a:cubicBezTo>
                  <a:pt x="3686065" y="5126532"/>
                  <a:pt x="3682787" y="5125654"/>
                  <a:pt x="3682787" y="5125654"/>
                </a:cubicBezTo>
                <a:cubicBezTo>
                  <a:pt x="3679505" y="5124775"/>
                  <a:pt x="3679505" y="5124775"/>
                  <a:pt x="3675347" y="5127176"/>
                </a:cubicBezTo>
                <a:cubicBezTo>
                  <a:pt x="3675347" y="5127176"/>
                  <a:pt x="3675347" y="5127176"/>
                  <a:pt x="3674467" y="5130457"/>
                </a:cubicBezTo>
                <a:cubicBezTo>
                  <a:pt x="3658065" y="5126062"/>
                  <a:pt x="3658065" y="5126062"/>
                  <a:pt x="3658065" y="5126062"/>
                </a:cubicBezTo>
                <a:cubicBezTo>
                  <a:pt x="3658065" y="5126062"/>
                  <a:pt x="3653907" y="5128463"/>
                  <a:pt x="3653907" y="5128463"/>
                </a:cubicBezTo>
                <a:cubicBezTo>
                  <a:pt x="3653907" y="5128463"/>
                  <a:pt x="3657187" y="5129341"/>
                  <a:pt x="3657187" y="5129341"/>
                </a:cubicBezTo>
                <a:cubicBezTo>
                  <a:pt x="3674467" y="5130457"/>
                  <a:pt x="3674467" y="5130457"/>
                  <a:pt x="3674467" y="5130457"/>
                </a:cubicBezTo>
                <a:cubicBezTo>
                  <a:pt x="3674467" y="5130457"/>
                  <a:pt x="3673588" y="5133737"/>
                  <a:pt x="3673588" y="5133737"/>
                </a:cubicBezTo>
                <a:cubicBezTo>
                  <a:pt x="3670306" y="5132858"/>
                  <a:pt x="3667027" y="5131978"/>
                  <a:pt x="3667027" y="5131978"/>
                </a:cubicBezTo>
                <a:cubicBezTo>
                  <a:pt x="3663747" y="5131100"/>
                  <a:pt x="3663747" y="5131100"/>
                  <a:pt x="3663747" y="5131100"/>
                </a:cubicBezTo>
                <a:cubicBezTo>
                  <a:pt x="3660467" y="5130221"/>
                  <a:pt x="3656309" y="5132623"/>
                  <a:pt x="3653027" y="5131744"/>
                </a:cubicBezTo>
                <a:cubicBezTo>
                  <a:pt x="3649747" y="5130864"/>
                  <a:pt x="3646466" y="5129986"/>
                  <a:pt x="3639907" y="5128227"/>
                </a:cubicBezTo>
                <a:cubicBezTo>
                  <a:pt x="3643186" y="5129107"/>
                  <a:pt x="3644067" y="5125825"/>
                  <a:pt x="3644067" y="5125825"/>
                </a:cubicBezTo>
                <a:cubicBezTo>
                  <a:pt x="3644067" y="5125825"/>
                  <a:pt x="3640785" y="5124947"/>
                  <a:pt x="3637506" y="5124069"/>
                </a:cubicBezTo>
                <a:cubicBezTo>
                  <a:pt x="3637506" y="5124069"/>
                  <a:pt x="3634225" y="5123188"/>
                  <a:pt x="3630945" y="5122310"/>
                </a:cubicBezTo>
                <a:cubicBezTo>
                  <a:pt x="3626785" y="5124711"/>
                  <a:pt x="3623505" y="5123833"/>
                  <a:pt x="3620224" y="5122954"/>
                </a:cubicBezTo>
                <a:cubicBezTo>
                  <a:pt x="3616944" y="5122074"/>
                  <a:pt x="3616944" y="5122074"/>
                  <a:pt x="3613665" y="5121196"/>
                </a:cubicBezTo>
                <a:cubicBezTo>
                  <a:pt x="3609505" y="5123597"/>
                  <a:pt x="3609505" y="5123597"/>
                  <a:pt x="3609505" y="5123597"/>
                </a:cubicBezTo>
                <a:cubicBezTo>
                  <a:pt x="3606225" y="5122719"/>
                  <a:pt x="3602066" y="5125120"/>
                  <a:pt x="3598785" y="5124241"/>
                </a:cubicBezTo>
                <a:cubicBezTo>
                  <a:pt x="3595505" y="5123363"/>
                  <a:pt x="3592225" y="5122483"/>
                  <a:pt x="3592225" y="5122483"/>
                </a:cubicBezTo>
                <a:cubicBezTo>
                  <a:pt x="3593103" y="5119203"/>
                  <a:pt x="3593103" y="5119203"/>
                  <a:pt x="3589823" y="5118324"/>
                </a:cubicBezTo>
                <a:cubicBezTo>
                  <a:pt x="3589823" y="5118324"/>
                  <a:pt x="3586543" y="5117446"/>
                  <a:pt x="3585664" y="5120726"/>
                </a:cubicBezTo>
                <a:cubicBezTo>
                  <a:pt x="3585664" y="5120726"/>
                  <a:pt x="3582383" y="5119845"/>
                  <a:pt x="3579982" y="5115687"/>
                </a:cubicBezTo>
                <a:cubicBezTo>
                  <a:pt x="3572542" y="5117210"/>
                  <a:pt x="3572542" y="5117210"/>
                  <a:pt x="3572542" y="5117210"/>
                </a:cubicBezTo>
                <a:cubicBezTo>
                  <a:pt x="3572542" y="5117210"/>
                  <a:pt x="3575823" y="5118089"/>
                  <a:pt x="3574945" y="5121368"/>
                </a:cubicBezTo>
                <a:cubicBezTo>
                  <a:pt x="3571664" y="5120490"/>
                  <a:pt x="3568383" y="5119611"/>
                  <a:pt x="3565103" y="5118731"/>
                </a:cubicBezTo>
                <a:cubicBezTo>
                  <a:pt x="3561823" y="5117852"/>
                  <a:pt x="3561823" y="5117852"/>
                  <a:pt x="3561823" y="5117852"/>
                </a:cubicBezTo>
                <a:cubicBezTo>
                  <a:pt x="3554384" y="5119375"/>
                  <a:pt x="3551103" y="5118495"/>
                  <a:pt x="3547823" y="5117617"/>
                </a:cubicBezTo>
                <a:cubicBezTo>
                  <a:pt x="3541263" y="5115860"/>
                  <a:pt x="3537981" y="5114981"/>
                  <a:pt x="3534703" y="5114101"/>
                </a:cubicBezTo>
                <a:cubicBezTo>
                  <a:pt x="3531422" y="5113222"/>
                  <a:pt x="3531422" y="5113222"/>
                  <a:pt x="3524861" y="5111464"/>
                </a:cubicBezTo>
                <a:cubicBezTo>
                  <a:pt x="3522460" y="5107306"/>
                  <a:pt x="3511741" y="5107948"/>
                  <a:pt x="3505180" y="5106191"/>
                </a:cubicBezTo>
                <a:cubicBezTo>
                  <a:pt x="3501899" y="5105311"/>
                  <a:pt x="3499499" y="5101153"/>
                  <a:pt x="3496218" y="5100273"/>
                </a:cubicBezTo>
                <a:cubicBezTo>
                  <a:pt x="3496218" y="5100273"/>
                  <a:pt x="3500377" y="5097872"/>
                  <a:pt x="3500377" y="5097872"/>
                </a:cubicBezTo>
                <a:cubicBezTo>
                  <a:pt x="3503657" y="5098752"/>
                  <a:pt x="3504537" y="5095471"/>
                  <a:pt x="3504537" y="5095471"/>
                </a:cubicBezTo>
                <a:cubicBezTo>
                  <a:pt x="3504537" y="5095471"/>
                  <a:pt x="3504537" y="5095471"/>
                  <a:pt x="3501256" y="5094592"/>
                </a:cubicBezTo>
                <a:cubicBezTo>
                  <a:pt x="3497975" y="5093714"/>
                  <a:pt x="3497975" y="5093714"/>
                  <a:pt x="3497975" y="5093714"/>
                </a:cubicBezTo>
                <a:cubicBezTo>
                  <a:pt x="3494695" y="5092834"/>
                  <a:pt x="3494695" y="5092834"/>
                  <a:pt x="3493817" y="5096115"/>
                </a:cubicBezTo>
                <a:cubicBezTo>
                  <a:pt x="3493817" y="5096115"/>
                  <a:pt x="3489659" y="5098516"/>
                  <a:pt x="3489659" y="5098516"/>
                </a:cubicBezTo>
                <a:cubicBezTo>
                  <a:pt x="3488778" y="5101796"/>
                  <a:pt x="3488778" y="5101796"/>
                  <a:pt x="3488778" y="5101796"/>
                </a:cubicBezTo>
                <a:cubicBezTo>
                  <a:pt x="3492058" y="5102676"/>
                  <a:pt x="3497740" y="5107714"/>
                  <a:pt x="3504301" y="5109471"/>
                </a:cubicBezTo>
                <a:cubicBezTo>
                  <a:pt x="3507581" y="5110349"/>
                  <a:pt x="3507581" y="5110349"/>
                  <a:pt x="3507581" y="5110349"/>
                </a:cubicBezTo>
                <a:cubicBezTo>
                  <a:pt x="3510861" y="5111230"/>
                  <a:pt x="3518300" y="5109707"/>
                  <a:pt x="3520701" y="5113865"/>
                </a:cubicBezTo>
                <a:cubicBezTo>
                  <a:pt x="3523982" y="5114745"/>
                  <a:pt x="3523982" y="5114745"/>
                  <a:pt x="3527262" y="5115624"/>
                </a:cubicBezTo>
                <a:cubicBezTo>
                  <a:pt x="3523104" y="5118025"/>
                  <a:pt x="3516543" y="5116266"/>
                  <a:pt x="3509983" y="5114509"/>
                </a:cubicBezTo>
                <a:cubicBezTo>
                  <a:pt x="3503423" y="5112752"/>
                  <a:pt x="3496862" y="5110993"/>
                  <a:pt x="3489421" y="5112516"/>
                </a:cubicBezTo>
                <a:cubicBezTo>
                  <a:pt x="3486142" y="5111638"/>
                  <a:pt x="3487020" y="5108356"/>
                  <a:pt x="3483740" y="5107478"/>
                </a:cubicBezTo>
                <a:cubicBezTo>
                  <a:pt x="3477179" y="5105719"/>
                  <a:pt x="3477179" y="5105719"/>
                  <a:pt x="3477179" y="5105719"/>
                </a:cubicBezTo>
                <a:cubicBezTo>
                  <a:pt x="3470619" y="5103962"/>
                  <a:pt x="3467339" y="5103082"/>
                  <a:pt x="3460778" y="5101325"/>
                </a:cubicBezTo>
                <a:cubicBezTo>
                  <a:pt x="3464938" y="5098924"/>
                  <a:pt x="3464938" y="5098924"/>
                  <a:pt x="3464938" y="5098924"/>
                </a:cubicBezTo>
                <a:cubicBezTo>
                  <a:pt x="3468217" y="5099803"/>
                  <a:pt x="3468217" y="5099803"/>
                  <a:pt x="3465816" y="5095643"/>
                </a:cubicBezTo>
                <a:cubicBezTo>
                  <a:pt x="3465816" y="5095643"/>
                  <a:pt x="3465816" y="5095643"/>
                  <a:pt x="3462537" y="5094765"/>
                </a:cubicBezTo>
                <a:cubicBezTo>
                  <a:pt x="3462537" y="5094765"/>
                  <a:pt x="3459257" y="5093886"/>
                  <a:pt x="3459257" y="5093886"/>
                </a:cubicBezTo>
                <a:cubicBezTo>
                  <a:pt x="3455097" y="5096287"/>
                  <a:pt x="3455097" y="5096287"/>
                  <a:pt x="3455097" y="5096287"/>
                </a:cubicBezTo>
                <a:cubicBezTo>
                  <a:pt x="3455097" y="5096287"/>
                  <a:pt x="3451816" y="5095409"/>
                  <a:pt x="3451816" y="5095409"/>
                </a:cubicBezTo>
                <a:cubicBezTo>
                  <a:pt x="3451816" y="5095409"/>
                  <a:pt x="3451816" y="5095409"/>
                  <a:pt x="3448536" y="5094529"/>
                </a:cubicBezTo>
                <a:cubicBezTo>
                  <a:pt x="3445257" y="5093650"/>
                  <a:pt x="3437817" y="5095173"/>
                  <a:pt x="3434537" y="5094294"/>
                </a:cubicBezTo>
                <a:cubicBezTo>
                  <a:pt x="3424696" y="5091657"/>
                  <a:pt x="3420537" y="5094058"/>
                  <a:pt x="3418134" y="5089898"/>
                </a:cubicBezTo>
                <a:cubicBezTo>
                  <a:pt x="3419013" y="5086619"/>
                  <a:pt x="3415734" y="5085739"/>
                  <a:pt x="3415734" y="5085739"/>
                </a:cubicBezTo>
                <a:cubicBezTo>
                  <a:pt x="3415734" y="5085739"/>
                  <a:pt x="3416612" y="5082459"/>
                  <a:pt x="3419893" y="5083337"/>
                </a:cubicBezTo>
                <a:cubicBezTo>
                  <a:pt x="3433015" y="5086855"/>
                  <a:pt x="3446135" y="5090369"/>
                  <a:pt x="3460135" y="5090605"/>
                </a:cubicBezTo>
                <a:cubicBezTo>
                  <a:pt x="3463417" y="5091485"/>
                  <a:pt x="3463417" y="5091485"/>
                  <a:pt x="3463417" y="5091485"/>
                </a:cubicBezTo>
                <a:cubicBezTo>
                  <a:pt x="3464295" y="5088204"/>
                  <a:pt x="3461014" y="5087326"/>
                  <a:pt x="3461014" y="5087326"/>
                </a:cubicBezTo>
                <a:cubicBezTo>
                  <a:pt x="3447014" y="5087089"/>
                  <a:pt x="3433893" y="5083574"/>
                  <a:pt x="3420771" y="5080058"/>
                </a:cubicBezTo>
                <a:cubicBezTo>
                  <a:pt x="3421650" y="5076777"/>
                  <a:pt x="3422530" y="5073498"/>
                  <a:pt x="3416848" y="5068459"/>
                </a:cubicBezTo>
                <a:cubicBezTo>
                  <a:pt x="3400447" y="5064065"/>
                  <a:pt x="3398925" y="5056626"/>
                  <a:pt x="3382522" y="5052230"/>
                </a:cubicBezTo>
                <a:cubicBezTo>
                  <a:pt x="3344273" y="5024403"/>
                  <a:pt x="3293547" y="5003780"/>
                  <a:pt x="3258344" y="4990831"/>
                </a:cubicBezTo>
                <a:cubicBezTo>
                  <a:pt x="3255064" y="4989952"/>
                  <a:pt x="3255064" y="4989952"/>
                  <a:pt x="3255064" y="4989952"/>
                </a:cubicBezTo>
                <a:cubicBezTo>
                  <a:pt x="3255064" y="4989952"/>
                  <a:pt x="3251783" y="4989072"/>
                  <a:pt x="3251783" y="4989072"/>
                </a:cubicBezTo>
                <a:cubicBezTo>
                  <a:pt x="3250904" y="4992353"/>
                  <a:pt x="3250904" y="4992353"/>
                  <a:pt x="3254186" y="4993232"/>
                </a:cubicBezTo>
                <a:cubicBezTo>
                  <a:pt x="3289390" y="5006181"/>
                  <a:pt x="3336835" y="5025926"/>
                  <a:pt x="3375085" y="5053753"/>
                </a:cubicBezTo>
                <a:cubicBezTo>
                  <a:pt x="3371803" y="5052874"/>
                  <a:pt x="3371803" y="5052874"/>
                  <a:pt x="3371803" y="5052874"/>
                </a:cubicBezTo>
                <a:cubicBezTo>
                  <a:pt x="3370925" y="5056154"/>
                  <a:pt x="3374204" y="5057034"/>
                  <a:pt x="3376606" y="5061192"/>
                </a:cubicBezTo>
                <a:cubicBezTo>
                  <a:pt x="3373326" y="5060314"/>
                  <a:pt x="3370045" y="5059435"/>
                  <a:pt x="3366767" y="5058555"/>
                </a:cubicBezTo>
                <a:cubicBezTo>
                  <a:pt x="3366767" y="5058555"/>
                  <a:pt x="3366767" y="5058555"/>
                  <a:pt x="3367645" y="5055275"/>
                </a:cubicBezTo>
                <a:cubicBezTo>
                  <a:pt x="3364364" y="5054397"/>
                  <a:pt x="3364364" y="5054397"/>
                  <a:pt x="3364364" y="5054397"/>
                </a:cubicBezTo>
                <a:cubicBezTo>
                  <a:pt x="3364364" y="5054397"/>
                  <a:pt x="3364364" y="5054397"/>
                  <a:pt x="3361083" y="5053517"/>
                </a:cubicBezTo>
                <a:cubicBezTo>
                  <a:pt x="3361083" y="5053517"/>
                  <a:pt x="3360205" y="5056798"/>
                  <a:pt x="3360205" y="5056798"/>
                </a:cubicBezTo>
                <a:cubicBezTo>
                  <a:pt x="3354524" y="5051759"/>
                  <a:pt x="3347963" y="5050001"/>
                  <a:pt x="3344683" y="5049123"/>
                </a:cubicBezTo>
                <a:cubicBezTo>
                  <a:pt x="3341402" y="5048244"/>
                  <a:pt x="3341402" y="5048244"/>
                  <a:pt x="3338122" y="5047364"/>
                </a:cubicBezTo>
                <a:cubicBezTo>
                  <a:pt x="3334843" y="5046486"/>
                  <a:pt x="3331561" y="5045605"/>
                  <a:pt x="3328281" y="5044727"/>
                </a:cubicBezTo>
                <a:lnTo>
                  <a:pt x="3325001" y="5043849"/>
                </a:lnTo>
                <a:cubicBezTo>
                  <a:pt x="3325879" y="5040568"/>
                  <a:pt x="3325879" y="5040568"/>
                  <a:pt x="3322599" y="5039690"/>
                </a:cubicBezTo>
                <a:cubicBezTo>
                  <a:pt x="3319320" y="5038810"/>
                  <a:pt x="3319320" y="5038810"/>
                  <a:pt x="3316040" y="5037932"/>
                </a:cubicBezTo>
                <a:cubicBezTo>
                  <a:pt x="3316040" y="5037932"/>
                  <a:pt x="3311880" y="5040333"/>
                  <a:pt x="3311880" y="5040333"/>
                </a:cubicBezTo>
                <a:cubicBezTo>
                  <a:pt x="3284758" y="5036582"/>
                  <a:pt x="3258516" y="5029550"/>
                  <a:pt x="3233153" y="5019238"/>
                </a:cubicBezTo>
                <a:cubicBezTo>
                  <a:pt x="3220911" y="5012442"/>
                  <a:pt x="3211070" y="5009805"/>
                  <a:pt x="3198829" y="5003009"/>
                </a:cubicBezTo>
                <a:cubicBezTo>
                  <a:pt x="3198829" y="5003009"/>
                  <a:pt x="3197949" y="5006290"/>
                  <a:pt x="3201230" y="5007168"/>
                </a:cubicBezTo>
                <a:cubicBezTo>
                  <a:pt x="3179148" y="4997736"/>
                  <a:pt x="3159465" y="4992462"/>
                  <a:pt x="3137383" y="4983030"/>
                </a:cubicBezTo>
                <a:cubicBezTo>
                  <a:pt x="3134102" y="4982150"/>
                  <a:pt x="3134102" y="4982150"/>
                  <a:pt x="3133223" y="4985431"/>
                </a:cubicBezTo>
                <a:cubicBezTo>
                  <a:pt x="3126663" y="4983673"/>
                  <a:pt x="3124263" y="4979514"/>
                  <a:pt x="3117700" y="4977756"/>
                </a:cubicBezTo>
                <a:cubicBezTo>
                  <a:pt x="3120981" y="4978634"/>
                  <a:pt x="3118579" y="4974474"/>
                  <a:pt x="3115299" y="4973596"/>
                </a:cubicBezTo>
                <a:cubicBezTo>
                  <a:pt x="3114421" y="4976877"/>
                  <a:pt x="3111141" y="4975997"/>
                  <a:pt x="3107860" y="4975119"/>
                </a:cubicBezTo>
                <a:cubicBezTo>
                  <a:pt x="3101299" y="4973360"/>
                  <a:pt x="3095618" y="4968321"/>
                  <a:pt x="3089059" y="4966565"/>
                </a:cubicBezTo>
                <a:cubicBezTo>
                  <a:pt x="3089059" y="4966565"/>
                  <a:pt x="3085777" y="4965684"/>
                  <a:pt x="3085777" y="4965684"/>
                </a:cubicBezTo>
                <a:cubicBezTo>
                  <a:pt x="3082497" y="4964806"/>
                  <a:pt x="3080095" y="4960648"/>
                  <a:pt x="3076815" y="4959768"/>
                </a:cubicBezTo>
                <a:cubicBezTo>
                  <a:pt x="3073536" y="4958890"/>
                  <a:pt x="3073536" y="4958890"/>
                  <a:pt x="3073536" y="4958890"/>
                </a:cubicBezTo>
                <a:cubicBezTo>
                  <a:pt x="3073536" y="4958890"/>
                  <a:pt x="3070254" y="4958011"/>
                  <a:pt x="3070254" y="4958011"/>
                </a:cubicBezTo>
                <a:cubicBezTo>
                  <a:pt x="3051452" y="4949457"/>
                  <a:pt x="3033528" y="4937622"/>
                  <a:pt x="3018005" y="4929948"/>
                </a:cubicBezTo>
                <a:cubicBezTo>
                  <a:pt x="3018005" y="4929948"/>
                  <a:pt x="3010567" y="4931469"/>
                  <a:pt x="3008164" y="4927311"/>
                </a:cubicBezTo>
                <a:cubicBezTo>
                  <a:pt x="3008164" y="4927311"/>
                  <a:pt x="3004884" y="4926433"/>
                  <a:pt x="3004884" y="4926433"/>
                </a:cubicBezTo>
                <a:cubicBezTo>
                  <a:pt x="3008164" y="4927311"/>
                  <a:pt x="2998324" y="4924674"/>
                  <a:pt x="2991763" y="4922918"/>
                </a:cubicBezTo>
                <a:cubicBezTo>
                  <a:pt x="2979523" y="4916120"/>
                  <a:pt x="2968159" y="4906044"/>
                  <a:pt x="2959196" y="4900127"/>
                </a:cubicBezTo>
                <a:cubicBezTo>
                  <a:pt x="2907827" y="4868783"/>
                  <a:pt x="2868699" y="4844236"/>
                  <a:pt x="2832851" y="4820566"/>
                </a:cubicBezTo>
                <a:cubicBezTo>
                  <a:pt x="2829571" y="4819688"/>
                  <a:pt x="2829571" y="4819688"/>
                  <a:pt x="2829571" y="4819688"/>
                </a:cubicBezTo>
                <a:cubicBezTo>
                  <a:pt x="2827170" y="4815530"/>
                  <a:pt x="2827170" y="4815530"/>
                  <a:pt x="2827170" y="4815530"/>
                </a:cubicBezTo>
                <a:cubicBezTo>
                  <a:pt x="2814607" y="4803373"/>
                  <a:pt x="2802863" y="4791436"/>
                  <a:pt x="2790300" y="4779282"/>
                </a:cubicBezTo>
                <a:lnTo>
                  <a:pt x="2753001" y="4745754"/>
                </a:lnTo>
                <a:lnTo>
                  <a:pt x="2753847" y="4746386"/>
                </a:lnTo>
                <a:cubicBezTo>
                  <a:pt x="2757549" y="4748972"/>
                  <a:pt x="2760909" y="4751190"/>
                  <a:pt x="2763151" y="4752669"/>
                </a:cubicBezTo>
                <a:cubicBezTo>
                  <a:pt x="2766430" y="4753548"/>
                  <a:pt x="2768833" y="4757708"/>
                  <a:pt x="2768833" y="4757708"/>
                </a:cubicBezTo>
                <a:cubicBezTo>
                  <a:pt x="2780195" y="4767784"/>
                  <a:pt x="2784997" y="4776102"/>
                  <a:pt x="2789157" y="4773703"/>
                </a:cubicBezTo>
                <a:cubicBezTo>
                  <a:pt x="2790679" y="4781141"/>
                  <a:pt x="2808603" y="4792975"/>
                  <a:pt x="2824125" y="4800649"/>
                </a:cubicBezTo>
                <a:cubicBezTo>
                  <a:pt x="2827406" y="4801529"/>
                  <a:pt x="2830687" y="4802408"/>
                  <a:pt x="2829807" y="4805687"/>
                </a:cubicBezTo>
                <a:cubicBezTo>
                  <a:pt x="2829807" y="4805687"/>
                  <a:pt x="2832209" y="4809847"/>
                  <a:pt x="2835489" y="4810727"/>
                </a:cubicBezTo>
                <a:cubicBezTo>
                  <a:pt x="2838769" y="4811605"/>
                  <a:pt x="2842049" y="4812484"/>
                  <a:pt x="2839648" y="4808324"/>
                </a:cubicBezTo>
                <a:cubicBezTo>
                  <a:pt x="2840526" y="4805045"/>
                  <a:pt x="2834845" y="4800006"/>
                  <a:pt x="2829163" y="4794968"/>
                </a:cubicBezTo>
                <a:cubicBezTo>
                  <a:pt x="2825883" y="4794088"/>
                  <a:pt x="2825883" y="4794088"/>
                  <a:pt x="2825883" y="4794088"/>
                </a:cubicBezTo>
                <a:cubicBezTo>
                  <a:pt x="2803157" y="4773937"/>
                  <a:pt x="2795075" y="4764739"/>
                  <a:pt x="2773871" y="4752025"/>
                </a:cubicBezTo>
                <a:cubicBezTo>
                  <a:pt x="2773871" y="4752025"/>
                  <a:pt x="2770590" y="4751147"/>
                  <a:pt x="2770590" y="4751147"/>
                </a:cubicBezTo>
                <a:cubicBezTo>
                  <a:pt x="2768187" y="4746989"/>
                  <a:pt x="2760105" y="4737790"/>
                  <a:pt x="2757705" y="4733631"/>
                </a:cubicBezTo>
                <a:cubicBezTo>
                  <a:pt x="2750264" y="4735154"/>
                  <a:pt x="2752023" y="4728593"/>
                  <a:pt x="2740660" y="4718516"/>
                </a:cubicBezTo>
                <a:cubicBezTo>
                  <a:pt x="2730497" y="4710520"/>
                  <a:pt x="2718095" y="4701044"/>
                  <a:pt x="2706021" y="4690338"/>
                </a:cubicBezTo>
                <a:lnTo>
                  <a:pt x="2678648" y="4660537"/>
                </a:lnTo>
                <a:lnTo>
                  <a:pt x="2682322" y="4660696"/>
                </a:lnTo>
                <a:cubicBezTo>
                  <a:pt x="2636869" y="4620390"/>
                  <a:pt x="2598856" y="4578563"/>
                  <a:pt x="2556040" y="4528415"/>
                </a:cubicBezTo>
                <a:cubicBezTo>
                  <a:pt x="2556040" y="4528415"/>
                  <a:pt x="2556918" y="4525136"/>
                  <a:pt x="2556918" y="4525136"/>
                </a:cubicBezTo>
                <a:cubicBezTo>
                  <a:pt x="2553638" y="4524257"/>
                  <a:pt x="2553638" y="4524257"/>
                  <a:pt x="2553638" y="4524257"/>
                </a:cubicBezTo>
                <a:cubicBezTo>
                  <a:pt x="2553638" y="4524257"/>
                  <a:pt x="2553638" y="4524257"/>
                  <a:pt x="2550359" y="4523378"/>
                </a:cubicBezTo>
                <a:cubicBezTo>
                  <a:pt x="2547958" y="4519219"/>
                  <a:pt x="2546435" y="4511779"/>
                  <a:pt x="2544034" y="4507619"/>
                </a:cubicBezTo>
                <a:cubicBezTo>
                  <a:pt x="2532435" y="4511543"/>
                  <a:pt x="2518905" y="4483308"/>
                  <a:pt x="2505142" y="4469072"/>
                </a:cubicBezTo>
                <a:cubicBezTo>
                  <a:pt x="2509301" y="4466671"/>
                  <a:pt x="2514103" y="4474989"/>
                  <a:pt x="2514981" y="4471709"/>
                </a:cubicBezTo>
                <a:cubicBezTo>
                  <a:pt x="2502975" y="4450912"/>
                  <a:pt x="2509944" y="4477392"/>
                  <a:pt x="2494657" y="4455716"/>
                </a:cubicBezTo>
                <a:cubicBezTo>
                  <a:pt x="2495536" y="4452435"/>
                  <a:pt x="2497937" y="4456594"/>
                  <a:pt x="2498817" y="4453313"/>
                </a:cubicBezTo>
                <a:cubicBezTo>
                  <a:pt x="2479370" y="4434040"/>
                  <a:pt x="2468243" y="4409964"/>
                  <a:pt x="2453599" y="4399008"/>
                </a:cubicBezTo>
                <a:cubicBezTo>
                  <a:pt x="2453599" y="4399008"/>
                  <a:pt x="2459281" y="4404046"/>
                  <a:pt x="2454477" y="4395729"/>
                </a:cubicBezTo>
                <a:cubicBezTo>
                  <a:pt x="2438956" y="4388053"/>
                  <a:pt x="2434388" y="4365736"/>
                  <a:pt x="2424784" y="4349098"/>
                </a:cubicBezTo>
                <a:cubicBezTo>
                  <a:pt x="2407738" y="4333983"/>
                  <a:pt x="2395732" y="4313186"/>
                  <a:pt x="2387006" y="4293271"/>
                </a:cubicBezTo>
                <a:cubicBezTo>
                  <a:pt x="2382643" y="4283312"/>
                  <a:pt x="2378278" y="4273352"/>
                  <a:pt x="2372796" y="4262654"/>
                </a:cubicBezTo>
                <a:lnTo>
                  <a:pt x="2354365" y="4231786"/>
                </a:lnTo>
                <a:lnTo>
                  <a:pt x="2357546" y="4232639"/>
                </a:lnTo>
                <a:cubicBezTo>
                  <a:pt x="2358425" y="4229358"/>
                  <a:pt x="2358425" y="4229358"/>
                  <a:pt x="2355145" y="4228480"/>
                </a:cubicBezTo>
                <a:cubicBezTo>
                  <a:pt x="2349463" y="4223441"/>
                  <a:pt x="2349463" y="4223441"/>
                  <a:pt x="2349463" y="4223441"/>
                </a:cubicBezTo>
                <a:cubicBezTo>
                  <a:pt x="2352745" y="4224320"/>
                  <a:pt x="2352745" y="4224320"/>
                  <a:pt x="2352745" y="4224320"/>
                </a:cubicBezTo>
                <a:cubicBezTo>
                  <a:pt x="2351221" y="4216882"/>
                  <a:pt x="2346419" y="4208563"/>
                  <a:pt x="2338336" y="4199366"/>
                </a:cubicBezTo>
                <a:cubicBezTo>
                  <a:pt x="2338336" y="4199366"/>
                  <a:pt x="2335056" y="4198486"/>
                  <a:pt x="2335056" y="4198486"/>
                </a:cubicBezTo>
                <a:cubicBezTo>
                  <a:pt x="2331775" y="4197608"/>
                  <a:pt x="2332655" y="4194328"/>
                  <a:pt x="2329374" y="4193448"/>
                </a:cubicBezTo>
                <a:cubicBezTo>
                  <a:pt x="2332655" y="4194328"/>
                  <a:pt x="2335056" y="4198486"/>
                  <a:pt x="2335934" y="4195206"/>
                </a:cubicBezTo>
                <a:cubicBezTo>
                  <a:pt x="2333533" y="4191047"/>
                  <a:pt x="2331132" y="4186887"/>
                  <a:pt x="2328731" y="4182729"/>
                </a:cubicBezTo>
                <a:cubicBezTo>
                  <a:pt x="2332011" y="4183607"/>
                  <a:pt x="2332011" y="4183607"/>
                  <a:pt x="2332011" y="4183607"/>
                </a:cubicBezTo>
                <a:cubicBezTo>
                  <a:pt x="2332011" y="4183607"/>
                  <a:pt x="2332011" y="4183607"/>
                  <a:pt x="2335292" y="4184486"/>
                </a:cubicBezTo>
                <a:cubicBezTo>
                  <a:pt x="2335292" y="4184486"/>
                  <a:pt x="2335292" y="4184486"/>
                  <a:pt x="2336170" y="4181206"/>
                </a:cubicBezTo>
                <a:cubicBezTo>
                  <a:pt x="2332891" y="4180326"/>
                  <a:pt x="2329610" y="4179448"/>
                  <a:pt x="2329610" y="4179448"/>
                </a:cubicBezTo>
                <a:cubicBezTo>
                  <a:pt x="2329610" y="4179448"/>
                  <a:pt x="2329610" y="4179448"/>
                  <a:pt x="2326328" y="4178569"/>
                </a:cubicBezTo>
                <a:cubicBezTo>
                  <a:pt x="2326328" y="4178569"/>
                  <a:pt x="2323927" y="4174411"/>
                  <a:pt x="2323927" y="4174411"/>
                </a:cubicBezTo>
                <a:cubicBezTo>
                  <a:pt x="2323927" y="4174411"/>
                  <a:pt x="2324807" y="4171130"/>
                  <a:pt x="2324807" y="4171130"/>
                </a:cubicBezTo>
                <a:cubicBezTo>
                  <a:pt x="2324807" y="4171130"/>
                  <a:pt x="2325686" y="4167850"/>
                  <a:pt x="2325686" y="4167850"/>
                </a:cubicBezTo>
                <a:cubicBezTo>
                  <a:pt x="2322406" y="4166970"/>
                  <a:pt x="2322406" y="4166970"/>
                  <a:pt x="2322406" y="4166970"/>
                </a:cubicBezTo>
                <a:cubicBezTo>
                  <a:pt x="2319125" y="4166091"/>
                  <a:pt x="2319125" y="4166091"/>
                  <a:pt x="2319125" y="4166091"/>
                </a:cubicBezTo>
                <a:cubicBezTo>
                  <a:pt x="2316724" y="4161932"/>
                  <a:pt x="2314323" y="4157774"/>
                  <a:pt x="2315201" y="4154494"/>
                </a:cubicBezTo>
                <a:cubicBezTo>
                  <a:pt x="2315201" y="4154494"/>
                  <a:pt x="2315201" y="4154494"/>
                  <a:pt x="2318482" y="4155373"/>
                </a:cubicBezTo>
                <a:cubicBezTo>
                  <a:pt x="2318482" y="4155373"/>
                  <a:pt x="2316081" y="4151212"/>
                  <a:pt x="2316081" y="4151212"/>
                </a:cubicBezTo>
                <a:cubicBezTo>
                  <a:pt x="2313680" y="4147053"/>
                  <a:pt x="2313680" y="4147053"/>
                  <a:pt x="2313680" y="4147053"/>
                </a:cubicBezTo>
                <a:cubicBezTo>
                  <a:pt x="2313680" y="4147053"/>
                  <a:pt x="2311277" y="4142893"/>
                  <a:pt x="2307998" y="4142015"/>
                </a:cubicBezTo>
                <a:cubicBezTo>
                  <a:pt x="2311277" y="4142893"/>
                  <a:pt x="2311277" y="4142893"/>
                  <a:pt x="2311277" y="4142893"/>
                </a:cubicBezTo>
                <a:cubicBezTo>
                  <a:pt x="2312157" y="4139613"/>
                  <a:pt x="2309756" y="4135454"/>
                  <a:pt x="2308233" y="4128016"/>
                </a:cubicBezTo>
                <a:cubicBezTo>
                  <a:pt x="2313914" y="4133052"/>
                  <a:pt x="2309114" y="4124735"/>
                  <a:pt x="2314794" y="4129773"/>
                </a:cubicBezTo>
                <a:cubicBezTo>
                  <a:pt x="2308469" y="4114014"/>
                  <a:pt x="2308469" y="4114014"/>
                  <a:pt x="2308469" y="4114014"/>
                </a:cubicBezTo>
                <a:cubicBezTo>
                  <a:pt x="2308469" y="4114014"/>
                  <a:pt x="2311749" y="4114894"/>
                  <a:pt x="2311749" y="4114894"/>
                </a:cubicBezTo>
                <a:cubicBezTo>
                  <a:pt x="2314150" y="4119054"/>
                  <a:pt x="2314150" y="4119054"/>
                  <a:pt x="2314150" y="4119054"/>
                </a:cubicBezTo>
                <a:cubicBezTo>
                  <a:pt x="2314150" y="4119054"/>
                  <a:pt x="2313272" y="4122333"/>
                  <a:pt x="2317430" y="4119932"/>
                </a:cubicBezTo>
                <a:cubicBezTo>
                  <a:pt x="2317430" y="4119932"/>
                  <a:pt x="2317430" y="4119932"/>
                  <a:pt x="2315029" y="4115773"/>
                </a:cubicBezTo>
                <a:cubicBezTo>
                  <a:pt x="2312628" y="4111613"/>
                  <a:pt x="2312628" y="4111613"/>
                  <a:pt x="2312628" y="4111613"/>
                </a:cubicBezTo>
                <a:cubicBezTo>
                  <a:pt x="2309348" y="4110734"/>
                  <a:pt x="2310226" y="4107455"/>
                  <a:pt x="2306947" y="4106575"/>
                </a:cubicBezTo>
                <a:cubicBezTo>
                  <a:pt x="2306947" y="4106575"/>
                  <a:pt x="2302787" y="4108977"/>
                  <a:pt x="2305188" y="4113136"/>
                </a:cubicBezTo>
                <a:cubicBezTo>
                  <a:pt x="2302787" y="4108977"/>
                  <a:pt x="2302787" y="4108977"/>
                  <a:pt x="2302787" y="4108977"/>
                </a:cubicBezTo>
                <a:cubicBezTo>
                  <a:pt x="2292302" y="4095620"/>
                  <a:pt x="2296462" y="4093218"/>
                  <a:pt x="2287500" y="4087301"/>
                </a:cubicBezTo>
                <a:cubicBezTo>
                  <a:pt x="2292302" y="4095620"/>
                  <a:pt x="2288144" y="4098021"/>
                  <a:pt x="2287264" y="4101302"/>
                </a:cubicBezTo>
                <a:cubicBezTo>
                  <a:pt x="2284863" y="4097142"/>
                  <a:pt x="2283340" y="4089703"/>
                  <a:pt x="2280939" y="4085543"/>
                </a:cubicBezTo>
                <a:cubicBezTo>
                  <a:pt x="2278538" y="4081385"/>
                  <a:pt x="2276137" y="4077226"/>
                  <a:pt x="2273736" y="4073065"/>
                </a:cubicBezTo>
                <a:cubicBezTo>
                  <a:pt x="2274614" y="4069786"/>
                  <a:pt x="2272213" y="4065626"/>
                  <a:pt x="2272213" y="4065626"/>
                </a:cubicBezTo>
                <a:cubicBezTo>
                  <a:pt x="2273093" y="4062346"/>
                  <a:pt x="2275494" y="4066506"/>
                  <a:pt x="2278774" y="4067385"/>
                </a:cubicBezTo>
                <a:cubicBezTo>
                  <a:pt x="2269169" y="4050747"/>
                  <a:pt x="2269169" y="4050747"/>
                  <a:pt x="2269169" y="4050747"/>
                </a:cubicBezTo>
                <a:cubicBezTo>
                  <a:pt x="2273328" y="4048346"/>
                  <a:pt x="2273328" y="4048346"/>
                  <a:pt x="2273328" y="4048346"/>
                </a:cubicBezTo>
                <a:cubicBezTo>
                  <a:pt x="2273328" y="4048346"/>
                  <a:pt x="2276609" y="4049225"/>
                  <a:pt x="2275729" y="4052506"/>
                </a:cubicBezTo>
                <a:cubicBezTo>
                  <a:pt x="2279010" y="4053384"/>
                  <a:pt x="2279010" y="4053384"/>
                  <a:pt x="2279010" y="4053384"/>
                </a:cubicBezTo>
                <a:cubicBezTo>
                  <a:pt x="2279010" y="4053384"/>
                  <a:pt x="2279010" y="4053384"/>
                  <a:pt x="2279888" y="4050103"/>
                </a:cubicBezTo>
                <a:cubicBezTo>
                  <a:pt x="2280767" y="4046824"/>
                  <a:pt x="2277487" y="4045945"/>
                  <a:pt x="2277487" y="4045945"/>
                </a:cubicBezTo>
                <a:cubicBezTo>
                  <a:pt x="2274206" y="4045065"/>
                  <a:pt x="2274206" y="4045065"/>
                  <a:pt x="2274206" y="4045065"/>
                </a:cubicBezTo>
                <a:cubicBezTo>
                  <a:pt x="2274206" y="4045065"/>
                  <a:pt x="2275086" y="4041785"/>
                  <a:pt x="2271805" y="4040907"/>
                </a:cubicBezTo>
                <a:cubicBezTo>
                  <a:pt x="2271805" y="4040907"/>
                  <a:pt x="2271805" y="4040907"/>
                  <a:pt x="2269404" y="4036747"/>
                </a:cubicBezTo>
                <a:cubicBezTo>
                  <a:pt x="2269404" y="4036747"/>
                  <a:pt x="2269404" y="4036747"/>
                  <a:pt x="2270282" y="4033467"/>
                </a:cubicBezTo>
                <a:cubicBezTo>
                  <a:pt x="2270282" y="4033467"/>
                  <a:pt x="2267003" y="4032587"/>
                  <a:pt x="2267003" y="4032587"/>
                </a:cubicBezTo>
                <a:cubicBezTo>
                  <a:pt x="2267881" y="4029308"/>
                  <a:pt x="2267881" y="4029308"/>
                  <a:pt x="2267881" y="4029308"/>
                </a:cubicBezTo>
                <a:cubicBezTo>
                  <a:pt x="2271162" y="4030186"/>
                  <a:pt x="2271162" y="4030186"/>
                  <a:pt x="2271162" y="4030186"/>
                </a:cubicBezTo>
                <a:cubicBezTo>
                  <a:pt x="2276843" y="4035224"/>
                  <a:pt x="2276843" y="4035224"/>
                  <a:pt x="2276843" y="4035224"/>
                </a:cubicBezTo>
                <a:cubicBezTo>
                  <a:pt x="2279246" y="4039384"/>
                  <a:pt x="2278366" y="4042666"/>
                  <a:pt x="2281647" y="4043544"/>
                </a:cubicBezTo>
                <a:cubicBezTo>
                  <a:pt x="2281647" y="4043544"/>
                  <a:pt x="2281647" y="4043544"/>
                  <a:pt x="2282526" y="4040263"/>
                </a:cubicBezTo>
                <a:cubicBezTo>
                  <a:pt x="2283404" y="4036983"/>
                  <a:pt x="2280124" y="4036104"/>
                  <a:pt x="2280124" y="4036104"/>
                </a:cubicBezTo>
                <a:cubicBezTo>
                  <a:pt x="2278602" y="4028665"/>
                  <a:pt x="2275322" y="4027785"/>
                  <a:pt x="2272919" y="4023625"/>
                </a:cubicBezTo>
                <a:cubicBezTo>
                  <a:pt x="2269640" y="4022747"/>
                  <a:pt x="2269640" y="4022747"/>
                  <a:pt x="2269640" y="4022747"/>
                </a:cubicBezTo>
                <a:cubicBezTo>
                  <a:pt x="2263959" y="4017708"/>
                  <a:pt x="2264837" y="4014429"/>
                  <a:pt x="2261556" y="4013550"/>
                </a:cubicBezTo>
                <a:cubicBezTo>
                  <a:pt x="2255233" y="3997792"/>
                  <a:pt x="2249786" y="3978753"/>
                  <a:pt x="2240180" y="3962117"/>
                </a:cubicBezTo>
                <a:cubicBezTo>
                  <a:pt x="2241060" y="3958836"/>
                  <a:pt x="2241060" y="3958836"/>
                  <a:pt x="2241060" y="3958836"/>
                </a:cubicBezTo>
                <a:cubicBezTo>
                  <a:pt x="2241939" y="3955556"/>
                  <a:pt x="2238659" y="3954676"/>
                  <a:pt x="2238659" y="3954676"/>
                </a:cubicBezTo>
                <a:cubicBezTo>
                  <a:pt x="2239537" y="3951396"/>
                  <a:pt x="2237136" y="3947238"/>
                  <a:pt x="2234735" y="3943079"/>
                </a:cubicBezTo>
                <a:cubicBezTo>
                  <a:pt x="2234735" y="3943079"/>
                  <a:pt x="2234735" y="3943079"/>
                  <a:pt x="2232334" y="3938919"/>
                </a:cubicBezTo>
                <a:cubicBezTo>
                  <a:pt x="2233212" y="3935639"/>
                  <a:pt x="2230811" y="3931479"/>
                  <a:pt x="2228410" y="3927321"/>
                </a:cubicBezTo>
                <a:cubicBezTo>
                  <a:pt x="2229289" y="3924040"/>
                  <a:pt x="2226888" y="3919880"/>
                  <a:pt x="2224486" y="3915722"/>
                </a:cubicBezTo>
                <a:cubicBezTo>
                  <a:pt x="2226243" y="3909161"/>
                  <a:pt x="2215760" y="3895805"/>
                  <a:pt x="2215995" y="3881804"/>
                </a:cubicBezTo>
                <a:cubicBezTo>
                  <a:pt x="2210314" y="3876766"/>
                  <a:pt x="2202466" y="3853568"/>
                  <a:pt x="2195263" y="3841091"/>
                </a:cubicBezTo>
                <a:cubicBezTo>
                  <a:pt x="2195263" y="3841091"/>
                  <a:pt x="2192217" y="3826211"/>
                  <a:pt x="2191339" y="3829493"/>
                </a:cubicBezTo>
                <a:cubicBezTo>
                  <a:pt x="2194062" y="3839011"/>
                  <a:pt x="2191602" y="3838352"/>
                  <a:pt x="2188651" y="3836242"/>
                </a:cubicBezTo>
                <a:lnTo>
                  <a:pt x="2188075" y="3835811"/>
                </a:lnTo>
                <a:lnTo>
                  <a:pt x="2194554" y="3858195"/>
                </a:lnTo>
                <a:lnTo>
                  <a:pt x="2198532" y="3875169"/>
                </a:lnTo>
                <a:lnTo>
                  <a:pt x="2200656" y="3881649"/>
                </a:lnTo>
                <a:cubicBezTo>
                  <a:pt x="2203678" y="3891687"/>
                  <a:pt x="2207002" y="3902246"/>
                  <a:pt x="2210722" y="3901486"/>
                </a:cubicBezTo>
                <a:cubicBezTo>
                  <a:pt x="2204397" y="3885728"/>
                  <a:pt x="2213123" y="3905645"/>
                  <a:pt x="2217047" y="3917243"/>
                </a:cubicBezTo>
                <a:cubicBezTo>
                  <a:pt x="2217047" y="3917243"/>
                  <a:pt x="2217047" y="3917243"/>
                  <a:pt x="2213766" y="3916364"/>
                </a:cubicBezTo>
                <a:cubicBezTo>
                  <a:pt x="2214644" y="3913085"/>
                  <a:pt x="2214644" y="3913085"/>
                  <a:pt x="2214644" y="3913085"/>
                </a:cubicBezTo>
                <a:cubicBezTo>
                  <a:pt x="2212243" y="3908925"/>
                  <a:pt x="2212243" y="3908925"/>
                  <a:pt x="2211364" y="3912205"/>
                </a:cubicBezTo>
                <a:cubicBezTo>
                  <a:pt x="2211364" y="3912205"/>
                  <a:pt x="2211364" y="3912205"/>
                  <a:pt x="2210486" y="3915486"/>
                </a:cubicBezTo>
                <a:cubicBezTo>
                  <a:pt x="2212887" y="3919646"/>
                  <a:pt x="2212887" y="3919646"/>
                  <a:pt x="2212887" y="3919646"/>
                </a:cubicBezTo>
                <a:cubicBezTo>
                  <a:pt x="2215288" y="3923806"/>
                  <a:pt x="2218570" y="3924684"/>
                  <a:pt x="2222728" y="3922281"/>
                </a:cubicBezTo>
                <a:cubicBezTo>
                  <a:pt x="2225129" y="3926441"/>
                  <a:pt x="2227532" y="3930600"/>
                  <a:pt x="2226652" y="3933880"/>
                </a:cubicBezTo>
                <a:cubicBezTo>
                  <a:pt x="2225773" y="3937160"/>
                  <a:pt x="2225773" y="3937160"/>
                  <a:pt x="2224895" y="3940442"/>
                </a:cubicBezTo>
                <a:cubicBezTo>
                  <a:pt x="2224895" y="3940442"/>
                  <a:pt x="2224895" y="3940442"/>
                  <a:pt x="2221613" y="3939563"/>
                </a:cubicBezTo>
                <a:cubicBezTo>
                  <a:pt x="2220735" y="3942843"/>
                  <a:pt x="2224015" y="3943721"/>
                  <a:pt x="2224015" y="3943721"/>
                </a:cubicBezTo>
                <a:cubicBezTo>
                  <a:pt x="2224015" y="3943721"/>
                  <a:pt x="2227296" y="3944601"/>
                  <a:pt x="2227296" y="3944601"/>
                </a:cubicBezTo>
                <a:cubicBezTo>
                  <a:pt x="2230575" y="3945479"/>
                  <a:pt x="2229697" y="3948759"/>
                  <a:pt x="2232977" y="3949639"/>
                </a:cubicBezTo>
                <a:cubicBezTo>
                  <a:pt x="2232098" y="3952919"/>
                  <a:pt x="2234499" y="3957077"/>
                  <a:pt x="2234499" y="3957077"/>
                </a:cubicBezTo>
                <a:cubicBezTo>
                  <a:pt x="2234499" y="3957077"/>
                  <a:pt x="2234499" y="3957077"/>
                  <a:pt x="2233619" y="3960358"/>
                </a:cubicBezTo>
                <a:cubicBezTo>
                  <a:pt x="2236901" y="3961237"/>
                  <a:pt x="2236901" y="3961237"/>
                  <a:pt x="2236901" y="3961237"/>
                </a:cubicBezTo>
                <a:cubicBezTo>
                  <a:pt x="2236901" y="3961237"/>
                  <a:pt x="2236022" y="3964518"/>
                  <a:pt x="2239302" y="3965397"/>
                </a:cubicBezTo>
                <a:cubicBezTo>
                  <a:pt x="2245627" y="3981154"/>
                  <a:pt x="2255233" y="3997792"/>
                  <a:pt x="2257398" y="4015951"/>
                </a:cubicBezTo>
                <a:cubicBezTo>
                  <a:pt x="2259799" y="4020111"/>
                  <a:pt x="2259799" y="4020111"/>
                  <a:pt x="2259799" y="4020111"/>
                </a:cubicBezTo>
                <a:cubicBezTo>
                  <a:pt x="2259799" y="4020111"/>
                  <a:pt x="2263079" y="4020990"/>
                  <a:pt x="2263079" y="4020990"/>
                </a:cubicBezTo>
                <a:cubicBezTo>
                  <a:pt x="2263079" y="4020990"/>
                  <a:pt x="2262200" y="4024269"/>
                  <a:pt x="2262200" y="4024269"/>
                </a:cubicBezTo>
                <a:cubicBezTo>
                  <a:pt x="2262200" y="4024269"/>
                  <a:pt x="2258920" y="4023391"/>
                  <a:pt x="2258920" y="4023391"/>
                </a:cubicBezTo>
                <a:cubicBezTo>
                  <a:pt x="2257162" y="4029950"/>
                  <a:pt x="2259563" y="4034110"/>
                  <a:pt x="2261086" y="4041551"/>
                </a:cubicBezTo>
                <a:cubicBezTo>
                  <a:pt x="2264367" y="4042429"/>
                  <a:pt x="2264367" y="4042429"/>
                  <a:pt x="2264367" y="4042429"/>
                </a:cubicBezTo>
                <a:cubicBezTo>
                  <a:pt x="2258449" y="4051391"/>
                  <a:pt x="2259563" y="4034110"/>
                  <a:pt x="2255405" y="4036511"/>
                </a:cubicBezTo>
                <a:cubicBezTo>
                  <a:pt x="2257804" y="4040671"/>
                  <a:pt x="2260850" y="4055550"/>
                  <a:pt x="2268055" y="4068027"/>
                </a:cubicBezTo>
                <a:cubicBezTo>
                  <a:pt x="2270456" y="4072187"/>
                  <a:pt x="2275258" y="4080505"/>
                  <a:pt x="2276781" y="4087944"/>
                </a:cubicBezTo>
                <a:cubicBezTo>
                  <a:pt x="2279182" y="4092104"/>
                  <a:pt x="2283984" y="4100424"/>
                  <a:pt x="2285507" y="4107863"/>
                </a:cubicBezTo>
                <a:cubicBezTo>
                  <a:pt x="2292710" y="4120339"/>
                  <a:pt x="2293354" y="4131059"/>
                  <a:pt x="2303838" y="4144416"/>
                </a:cubicBezTo>
                <a:cubicBezTo>
                  <a:pt x="2306239" y="4148575"/>
                  <a:pt x="2307761" y="4156015"/>
                  <a:pt x="2307761" y="4156015"/>
                </a:cubicBezTo>
                <a:cubicBezTo>
                  <a:pt x="2310163" y="4160174"/>
                  <a:pt x="2309284" y="4163454"/>
                  <a:pt x="2312564" y="4164333"/>
                </a:cubicBezTo>
                <a:cubicBezTo>
                  <a:pt x="2311686" y="4167614"/>
                  <a:pt x="2311686" y="4167614"/>
                  <a:pt x="2314087" y="4171772"/>
                </a:cubicBezTo>
                <a:cubicBezTo>
                  <a:pt x="2317368" y="4172652"/>
                  <a:pt x="2318890" y="4180092"/>
                  <a:pt x="2321291" y="4184250"/>
                </a:cubicBezTo>
                <a:cubicBezTo>
                  <a:pt x="2318012" y="4183372"/>
                  <a:pt x="2325215" y="4195849"/>
                  <a:pt x="2325215" y="4195849"/>
                </a:cubicBezTo>
                <a:cubicBezTo>
                  <a:pt x="2327617" y="4200009"/>
                  <a:pt x="2330018" y="4204168"/>
                  <a:pt x="2333297" y="4205047"/>
                </a:cubicBezTo>
                <a:cubicBezTo>
                  <a:pt x="2332419" y="4208327"/>
                  <a:pt x="2332419" y="4208327"/>
                  <a:pt x="2332419" y="4208327"/>
                </a:cubicBezTo>
                <a:cubicBezTo>
                  <a:pt x="2346592" y="4247282"/>
                  <a:pt x="2372127" y="4296314"/>
                  <a:pt x="2391338" y="4329589"/>
                </a:cubicBezTo>
                <a:cubicBezTo>
                  <a:pt x="2390458" y="4332868"/>
                  <a:pt x="2390458" y="4332868"/>
                  <a:pt x="2390458" y="4332868"/>
                </a:cubicBezTo>
                <a:cubicBezTo>
                  <a:pt x="2390458" y="4332868"/>
                  <a:pt x="2390458" y="4332868"/>
                  <a:pt x="2389579" y="4336150"/>
                </a:cubicBezTo>
                <a:cubicBezTo>
                  <a:pt x="2387178" y="4331990"/>
                  <a:pt x="2387178" y="4331990"/>
                  <a:pt x="2384777" y="4327831"/>
                </a:cubicBezTo>
                <a:cubicBezTo>
                  <a:pt x="2384777" y="4327831"/>
                  <a:pt x="2382376" y="4323671"/>
                  <a:pt x="2379973" y="4319511"/>
                </a:cubicBezTo>
                <a:cubicBezTo>
                  <a:pt x="2377572" y="4315352"/>
                  <a:pt x="2377572" y="4315352"/>
                  <a:pt x="2375173" y="4311195"/>
                </a:cubicBezTo>
                <a:cubicBezTo>
                  <a:pt x="2375173" y="4311195"/>
                  <a:pt x="2375173" y="4311195"/>
                  <a:pt x="2371891" y="4310315"/>
                </a:cubicBezTo>
                <a:cubicBezTo>
                  <a:pt x="2370368" y="4302875"/>
                  <a:pt x="2364686" y="4297837"/>
                  <a:pt x="2359884" y="4289519"/>
                </a:cubicBezTo>
                <a:cubicBezTo>
                  <a:pt x="2359884" y="4289519"/>
                  <a:pt x="2357483" y="4285359"/>
                  <a:pt x="2356605" y="4288639"/>
                </a:cubicBezTo>
                <a:cubicBezTo>
                  <a:pt x="2353323" y="4287760"/>
                  <a:pt x="2355725" y="4291921"/>
                  <a:pt x="2355725" y="4291921"/>
                </a:cubicBezTo>
                <a:cubicBezTo>
                  <a:pt x="2358127" y="4296080"/>
                  <a:pt x="2358127" y="4296080"/>
                  <a:pt x="2358127" y="4296080"/>
                </a:cubicBezTo>
                <a:cubicBezTo>
                  <a:pt x="2358127" y="4296080"/>
                  <a:pt x="2357248" y="4299359"/>
                  <a:pt x="2360528" y="4300238"/>
                </a:cubicBezTo>
                <a:cubicBezTo>
                  <a:pt x="2362929" y="4304398"/>
                  <a:pt x="2362929" y="4304398"/>
                  <a:pt x="2362929" y="4304398"/>
                </a:cubicBezTo>
                <a:cubicBezTo>
                  <a:pt x="2366209" y="4305277"/>
                  <a:pt x="2365331" y="4308558"/>
                  <a:pt x="2367731" y="4312715"/>
                </a:cubicBezTo>
                <a:cubicBezTo>
                  <a:pt x="2365331" y="4308558"/>
                  <a:pt x="2362425" y="4303822"/>
                  <a:pt x="2359695" y="4299246"/>
                </a:cubicBezTo>
                <a:lnTo>
                  <a:pt x="2353339" y="4287828"/>
                </a:lnTo>
                <a:lnTo>
                  <a:pt x="2353323" y="4287760"/>
                </a:lnTo>
                <a:lnTo>
                  <a:pt x="2353292" y="4287741"/>
                </a:lnTo>
                <a:lnTo>
                  <a:pt x="2352724" y="4286721"/>
                </a:lnTo>
                <a:cubicBezTo>
                  <a:pt x="2349341" y="4279662"/>
                  <a:pt x="2349401" y="4276162"/>
                  <a:pt x="2358361" y="4282080"/>
                </a:cubicBezTo>
                <a:cubicBezTo>
                  <a:pt x="2342196" y="4263684"/>
                  <a:pt x="2340673" y="4256244"/>
                  <a:pt x="2331068" y="4239607"/>
                </a:cubicBezTo>
                <a:cubicBezTo>
                  <a:pt x="2330190" y="4242888"/>
                  <a:pt x="2330190" y="4242888"/>
                  <a:pt x="2330190" y="4242888"/>
                </a:cubicBezTo>
                <a:cubicBezTo>
                  <a:pt x="2322985" y="4230410"/>
                  <a:pt x="2322985" y="4230410"/>
                  <a:pt x="2322985" y="4230410"/>
                </a:cubicBezTo>
                <a:cubicBezTo>
                  <a:pt x="2323865" y="4227129"/>
                  <a:pt x="2323865" y="4227129"/>
                  <a:pt x="2323865" y="4227129"/>
                </a:cubicBezTo>
                <a:cubicBezTo>
                  <a:pt x="2320584" y="4226251"/>
                  <a:pt x="2320584" y="4226251"/>
                  <a:pt x="2320584" y="4226251"/>
                </a:cubicBezTo>
                <a:cubicBezTo>
                  <a:pt x="2321464" y="4222972"/>
                  <a:pt x="2321464" y="4222972"/>
                  <a:pt x="2321464" y="4222972"/>
                </a:cubicBezTo>
                <a:cubicBezTo>
                  <a:pt x="2319061" y="4218812"/>
                  <a:pt x="2315782" y="4217933"/>
                  <a:pt x="2316660" y="4214652"/>
                </a:cubicBezTo>
                <a:cubicBezTo>
                  <a:pt x="2313380" y="4213773"/>
                  <a:pt x="2314259" y="4210493"/>
                  <a:pt x="2310979" y="4209615"/>
                </a:cubicBezTo>
                <a:cubicBezTo>
                  <a:pt x="2311858" y="4206334"/>
                  <a:pt x="2308578" y="4205456"/>
                  <a:pt x="2308578" y="4205456"/>
                </a:cubicBezTo>
                <a:cubicBezTo>
                  <a:pt x="2306175" y="4201296"/>
                  <a:pt x="2303776" y="4197136"/>
                  <a:pt x="2301373" y="4192977"/>
                </a:cubicBezTo>
                <a:cubicBezTo>
                  <a:pt x="2298093" y="4192099"/>
                  <a:pt x="2298093" y="4192099"/>
                  <a:pt x="2298093" y="4192099"/>
                </a:cubicBezTo>
                <a:cubicBezTo>
                  <a:pt x="2298093" y="4192099"/>
                  <a:pt x="2298972" y="4188818"/>
                  <a:pt x="2295692" y="4187939"/>
                </a:cubicBezTo>
                <a:cubicBezTo>
                  <a:pt x="2291768" y="4176340"/>
                  <a:pt x="2284565" y="4163862"/>
                  <a:pt x="2277360" y="4151385"/>
                </a:cubicBezTo>
                <a:cubicBezTo>
                  <a:pt x="2280641" y="4152264"/>
                  <a:pt x="2280641" y="4152264"/>
                  <a:pt x="2281520" y="4148984"/>
                </a:cubicBezTo>
                <a:cubicBezTo>
                  <a:pt x="2283921" y="4153142"/>
                  <a:pt x="2283921" y="4153142"/>
                  <a:pt x="2283921" y="4153142"/>
                </a:cubicBezTo>
                <a:cubicBezTo>
                  <a:pt x="2283042" y="4156423"/>
                  <a:pt x="2286322" y="4157302"/>
                  <a:pt x="2286322" y="4157302"/>
                </a:cubicBezTo>
                <a:cubicBezTo>
                  <a:pt x="2286322" y="4157302"/>
                  <a:pt x="2287202" y="4154022"/>
                  <a:pt x="2287202" y="4154022"/>
                </a:cubicBezTo>
                <a:cubicBezTo>
                  <a:pt x="2284799" y="4149863"/>
                  <a:pt x="2284799" y="4149863"/>
                  <a:pt x="2284799" y="4149863"/>
                </a:cubicBezTo>
                <a:cubicBezTo>
                  <a:pt x="2284799" y="4149863"/>
                  <a:pt x="2282398" y="4145704"/>
                  <a:pt x="2282398" y="4145704"/>
                </a:cubicBezTo>
                <a:cubicBezTo>
                  <a:pt x="2279118" y="4144824"/>
                  <a:pt x="2279118" y="4144824"/>
                  <a:pt x="2279118" y="4144824"/>
                </a:cubicBezTo>
                <a:cubicBezTo>
                  <a:pt x="2279118" y="4144824"/>
                  <a:pt x="2279118" y="4144824"/>
                  <a:pt x="2275837" y="4143945"/>
                </a:cubicBezTo>
                <a:cubicBezTo>
                  <a:pt x="2271915" y="4132347"/>
                  <a:pt x="2264710" y="4119868"/>
                  <a:pt x="2260788" y="4108270"/>
                </a:cubicBezTo>
                <a:cubicBezTo>
                  <a:pt x="2260788" y="4108270"/>
                  <a:pt x="2260788" y="4108270"/>
                  <a:pt x="2257507" y="4107391"/>
                </a:cubicBezTo>
                <a:cubicBezTo>
                  <a:pt x="2247258" y="4080034"/>
                  <a:pt x="2236131" y="4055958"/>
                  <a:pt x="2229163" y="4029480"/>
                </a:cubicBezTo>
                <a:cubicBezTo>
                  <a:pt x="2214110" y="3993804"/>
                  <a:pt x="2202339" y="3959008"/>
                  <a:pt x="2191448" y="3920932"/>
                </a:cubicBezTo>
                <a:cubicBezTo>
                  <a:pt x="2189925" y="3913493"/>
                  <a:pt x="2190161" y="3899493"/>
                  <a:pt x="2183600" y="3897734"/>
                </a:cubicBezTo>
                <a:cubicBezTo>
                  <a:pt x="2183600" y="3897734"/>
                  <a:pt x="2183600" y="3897734"/>
                  <a:pt x="2184480" y="3894454"/>
                </a:cubicBezTo>
                <a:cubicBezTo>
                  <a:pt x="2185358" y="3891175"/>
                  <a:pt x="2182957" y="3887015"/>
                  <a:pt x="2183836" y="3883736"/>
                </a:cubicBezTo>
                <a:cubicBezTo>
                  <a:pt x="2183836" y="3883736"/>
                  <a:pt x="2181435" y="3879574"/>
                  <a:pt x="2181435" y="3879574"/>
                </a:cubicBezTo>
                <a:cubicBezTo>
                  <a:pt x="2181435" y="3879574"/>
                  <a:pt x="2180556" y="3882855"/>
                  <a:pt x="2180556" y="3882855"/>
                </a:cubicBezTo>
                <a:cubicBezTo>
                  <a:pt x="2175110" y="3863817"/>
                  <a:pt x="2169664" y="3844780"/>
                  <a:pt x="2164217" y="3825741"/>
                </a:cubicBezTo>
                <a:cubicBezTo>
                  <a:pt x="2151803" y="3780225"/>
                  <a:pt x="2151803" y="3780225"/>
                  <a:pt x="2151803" y="3780225"/>
                </a:cubicBezTo>
                <a:lnTo>
                  <a:pt x="2151319" y="3777854"/>
                </a:lnTo>
                <a:lnTo>
                  <a:pt x="2151009" y="3776873"/>
                </a:lnTo>
                <a:lnTo>
                  <a:pt x="2132922" y="3694412"/>
                </a:lnTo>
                <a:lnTo>
                  <a:pt x="2132655" y="3694230"/>
                </a:lnTo>
                <a:lnTo>
                  <a:pt x="2130626" y="3683943"/>
                </a:lnTo>
                <a:lnTo>
                  <a:pt x="2101976" y="3553318"/>
                </a:lnTo>
                <a:cubicBezTo>
                  <a:pt x="2077772" y="3400970"/>
                  <a:pt x="2071359" y="3249433"/>
                  <a:pt x="2087236" y="3095430"/>
                </a:cubicBezTo>
                <a:cubicBezTo>
                  <a:pt x="2063581" y="3233075"/>
                  <a:pt x="2066921" y="3373776"/>
                  <a:pt x="2061056" y="3512229"/>
                </a:cubicBezTo>
                <a:lnTo>
                  <a:pt x="2059495" y="3512181"/>
                </a:lnTo>
                <a:lnTo>
                  <a:pt x="2065891" y="3549772"/>
                </a:lnTo>
                <a:cubicBezTo>
                  <a:pt x="2070221" y="3586091"/>
                  <a:pt x="2078713" y="3620008"/>
                  <a:pt x="2079120" y="3644728"/>
                </a:cubicBezTo>
                <a:cubicBezTo>
                  <a:pt x="2083279" y="3642327"/>
                  <a:pt x="2082401" y="3645608"/>
                  <a:pt x="2083923" y="3653046"/>
                </a:cubicBezTo>
                <a:cubicBezTo>
                  <a:pt x="2081521" y="3648887"/>
                  <a:pt x="2078241" y="3648007"/>
                  <a:pt x="2080643" y="3652168"/>
                </a:cubicBezTo>
                <a:cubicBezTo>
                  <a:pt x="2083045" y="3656327"/>
                  <a:pt x="2088018" y="3703364"/>
                  <a:pt x="2093056" y="3697684"/>
                </a:cubicBezTo>
                <a:cubicBezTo>
                  <a:pt x="2098503" y="3716722"/>
                  <a:pt x="2093464" y="3722403"/>
                  <a:pt x="2093464" y="3722403"/>
                </a:cubicBezTo>
                <a:cubicBezTo>
                  <a:pt x="2099789" y="3738162"/>
                  <a:pt x="2096744" y="3723283"/>
                  <a:pt x="2100904" y="3720880"/>
                </a:cubicBezTo>
                <a:cubicBezTo>
                  <a:pt x="2106350" y="3739919"/>
                  <a:pt x="2106350" y="3739919"/>
                  <a:pt x="2106350" y="3739919"/>
                </a:cubicBezTo>
                <a:cubicBezTo>
                  <a:pt x="2098267" y="3730721"/>
                  <a:pt x="2101312" y="3745601"/>
                  <a:pt x="2100433" y="3748881"/>
                </a:cubicBezTo>
                <a:cubicBezTo>
                  <a:pt x="2113319" y="3766397"/>
                  <a:pt x="2113492" y="3805117"/>
                  <a:pt x="2129421" y="3837513"/>
                </a:cubicBezTo>
                <a:cubicBezTo>
                  <a:pt x="2128542" y="3840792"/>
                  <a:pt x="2131822" y="3841671"/>
                  <a:pt x="2130944" y="3844951"/>
                </a:cubicBezTo>
                <a:cubicBezTo>
                  <a:pt x="2130065" y="3848232"/>
                  <a:pt x="2133346" y="3849111"/>
                  <a:pt x="2133346" y="3849111"/>
                </a:cubicBezTo>
                <a:cubicBezTo>
                  <a:pt x="2135746" y="3853270"/>
                  <a:pt x="2136625" y="3849989"/>
                  <a:pt x="2134224" y="3845831"/>
                </a:cubicBezTo>
                <a:cubicBezTo>
                  <a:pt x="2134224" y="3845831"/>
                  <a:pt x="2134224" y="3845831"/>
                  <a:pt x="2135102" y="3842550"/>
                </a:cubicBezTo>
                <a:cubicBezTo>
                  <a:pt x="2149276" y="3881505"/>
                  <a:pt x="2150563" y="3902945"/>
                  <a:pt x="2165614" y="3938620"/>
                </a:cubicBezTo>
                <a:cubicBezTo>
                  <a:pt x="2161454" y="3941022"/>
                  <a:pt x="2163855" y="3945182"/>
                  <a:pt x="2159697" y="3947583"/>
                </a:cubicBezTo>
                <a:cubicBezTo>
                  <a:pt x="2178672" y="3994856"/>
                  <a:pt x="2196767" y="4045411"/>
                  <a:pt x="2219023" y="4093565"/>
                </a:cubicBezTo>
                <a:cubicBezTo>
                  <a:pt x="2240399" y="4144996"/>
                  <a:pt x="2265934" y="4194029"/>
                  <a:pt x="2289069" y="4238901"/>
                </a:cubicBezTo>
                <a:cubicBezTo>
                  <a:pt x="2291705" y="4229060"/>
                  <a:pt x="2272259" y="4209786"/>
                  <a:pt x="2269214" y="4194907"/>
                </a:cubicBezTo>
                <a:cubicBezTo>
                  <a:pt x="2265934" y="4194029"/>
                  <a:pt x="2267692" y="4187468"/>
                  <a:pt x="2268572" y="4184188"/>
                </a:cubicBezTo>
                <a:cubicBezTo>
                  <a:pt x="2255042" y="4155951"/>
                  <a:pt x="2236711" y="4119397"/>
                  <a:pt x="2224939" y="4084603"/>
                </a:cubicBezTo>
                <a:cubicBezTo>
                  <a:pt x="2207487" y="4044767"/>
                  <a:pt x="2187634" y="4000773"/>
                  <a:pt x="2176741" y="3962696"/>
                </a:cubicBezTo>
                <a:cubicBezTo>
                  <a:pt x="2177620" y="3959416"/>
                  <a:pt x="2176977" y="3948697"/>
                  <a:pt x="2176977" y="3948697"/>
                </a:cubicBezTo>
                <a:cubicBezTo>
                  <a:pt x="2169129" y="3925499"/>
                  <a:pt x="2158002" y="3901422"/>
                  <a:pt x="2152556" y="3882385"/>
                </a:cubicBezTo>
                <a:cubicBezTo>
                  <a:pt x="2153434" y="3879104"/>
                  <a:pt x="2155836" y="3883264"/>
                  <a:pt x="2154313" y="3875824"/>
                </a:cubicBezTo>
                <a:cubicBezTo>
                  <a:pt x="2153434" y="3879104"/>
                  <a:pt x="2151034" y="3874946"/>
                  <a:pt x="2147753" y="3874066"/>
                </a:cubicBezTo>
                <a:cubicBezTo>
                  <a:pt x="2138383" y="3843428"/>
                  <a:pt x="2135574" y="3814550"/>
                  <a:pt x="2128605" y="3788073"/>
                </a:cubicBezTo>
                <a:cubicBezTo>
                  <a:pt x="2131007" y="3792231"/>
                  <a:pt x="2130128" y="3795512"/>
                  <a:pt x="2132530" y="3799672"/>
                </a:cubicBezTo>
                <a:cubicBezTo>
                  <a:pt x="2141256" y="3819587"/>
                  <a:pt x="2146701" y="3838626"/>
                  <a:pt x="2145180" y="3831186"/>
                </a:cubicBezTo>
                <a:cubicBezTo>
                  <a:pt x="2150625" y="3850225"/>
                  <a:pt x="2161754" y="3874301"/>
                  <a:pt x="2168079" y="3890059"/>
                </a:cubicBezTo>
                <a:cubicBezTo>
                  <a:pt x="2170478" y="3894219"/>
                  <a:pt x="2170478" y="3894219"/>
                  <a:pt x="2169600" y="3897500"/>
                </a:cubicBezTo>
                <a:cubicBezTo>
                  <a:pt x="2163919" y="3892460"/>
                  <a:pt x="2174404" y="3905817"/>
                  <a:pt x="2167841" y="3904059"/>
                </a:cubicBezTo>
                <a:cubicBezTo>
                  <a:pt x="2172645" y="3912379"/>
                  <a:pt x="2177448" y="3920697"/>
                  <a:pt x="2179849" y="3924856"/>
                </a:cubicBezTo>
                <a:cubicBezTo>
                  <a:pt x="2183772" y="3936454"/>
                  <a:pt x="2185296" y="3943895"/>
                  <a:pt x="2190097" y="3952213"/>
                </a:cubicBezTo>
                <a:cubicBezTo>
                  <a:pt x="2195543" y="3971252"/>
                  <a:pt x="2200112" y="3993570"/>
                  <a:pt x="2201633" y="4001009"/>
                </a:cubicBezTo>
                <a:cubicBezTo>
                  <a:pt x="2202511" y="3997729"/>
                  <a:pt x="2204914" y="4001887"/>
                  <a:pt x="2204914" y="4001887"/>
                </a:cubicBezTo>
                <a:cubicBezTo>
                  <a:pt x="2207315" y="4006047"/>
                  <a:pt x="2209717" y="4010207"/>
                  <a:pt x="2211239" y="4017646"/>
                </a:cubicBezTo>
                <a:cubicBezTo>
                  <a:pt x="2211239" y="4017646"/>
                  <a:pt x="2210359" y="4020926"/>
                  <a:pt x="2213640" y="4021805"/>
                </a:cubicBezTo>
                <a:cubicBezTo>
                  <a:pt x="2217564" y="4033404"/>
                  <a:pt x="2221486" y="4045003"/>
                  <a:pt x="2226290" y="4053321"/>
                </a:cubicBezTo>
                <a:cubicBezTo>
                  <a:pt x="2230214" y="4064920"/>
                  <a:pt x="2230857" y="4075639"/>
                  <a:pt x="2232615" y="4069080"/>
                </a:cubicBezTo>
                <a:cubicBezTo>
                  <a:pt x="2239818" y="4081557"/>
                  <a:pt x="2246143" y="4097315"/>
                  <a:pt x="2251590" y="4116353"/>
                </a:cubicBezTo>
                <a:cubicBezTo>
                  <a:pt x="2253991" y="4120513"/>
                  <a:pt x="2258793" y="4128831"/>
                  <a:pt x="2260316" y="4136270"/>
                </a:cubicBezTo>
                <a:cubicBezTo>
                  <a:pt x="2260316" y="4136270"/>
                  <a:pt x="2259437" y="4139550"/>
                  <a:pt x="2259437" y="4139550"/>
                </a:cubicBezTo>
                <a:cubicBezTo>
                  <a:pt x="2262719" y="4140430"/>
                  <a:pt x="2261839" y="4143710"/>
                  <a:pt x="2261839" y="4143710"/>
                </a:cubicBezTo>
                <a:cubicBezTo>
                  <a:pt x="2265118" y="4144590"/>
                  <a:pt x="2265118" y="4144590"/>
                  <a:pt x="2265118" y="4144590"/>
                </a:cubicBezTo>
                <a:cubicBezTo>
                  <a:pt x="2265118" y="4144590"/>
                  <a:pt x="2265118" y="4144590"/>
                  <a:pt x="2264239" y="4147869"/>
                </a:cubicBezTo>
                <a:cubicBezTo>
                  <a:pt x="2277768" y="4176104"/>
                  <a:pt x="2291298" y="4204339"/>
                  <a:pt x="2303304" y="4225136"/>
                </a:cubicBezTo>
                <a:cubicBezTo>
                  <a:pt x="2302425" y="4228416"/>
                  <a:pt x="2301547" y="4231697"/>
                  <a:pt x="2304827" y="4232576"/>
                </a:cubicBezTo>
                <a:cubicBezTo>
                  <a:pt x="2303948" y="4235857"/>
                  <a:pt x="2303948" y="4235857"/>
                  <a:pt x="2303948" y="4235857"/>
                </a:cubicBezTo>
                <a:cubicBezTo>
                  <a:pt x="2303948" y="4235857"/>
                  <a:pt x="2303068" y="4239137"/>
                  <a:pt x="2306349" y="4240017"/>
                </a:cubicBezTo>
                <a:cubicBezTo>
                  <a:pt x="2309629" y="4240895"/>
                  <a:pt x="2309629" y="4240895"/>
                  <a:pt x="2309629" y="4240895"/>
                </a:cubicBezTo>
                <a:cubicBezTo>
                  <a:pt x="2316832" y="4253373"/>
                  <a:pt x="2330362" y="4281608"/>
                  <a:pt x="2329718" y="4270889"/>
                </a:cubicBezTo>
                <a:cubicBezTo>
                  <a:pt x="2329718" y="4270889"/>
                  <a:pt x="2329718" y="4270889"/>
                  <a:pt x="2332119" y="4275047"/>
                </a:cubicBezTo>
                <a:cubicBezTo>
                  <a:pt x="2331241" y="4278328"/>
                  <a:pt x="2337802" y="4280087"/>
                  <a:pt x="2337802" y="4280087"/>
                </a:cubicBezTo>
                <a:lnTo>
                  <a:pt x="2339523" y="4273662"/>
                </a:lnTo>
                <a:lnTo>
                  <a:pt x="2344252" y="4282253"/>
                </a:lnTo>
                <a:lnTo>
                  <a:pt x="2353292" y="4287741"/>
                </a:lnTo>
                <a:lnTo>
                  <a:pt x="2353339" y="4287828"/>
                </a:lnTo>
                <a:lnTo>
                  <a:pt x="2356398" y="4300890"/>
                </a:lnTo>
                <a:cubicBezTo>
                  <a:pt x="2359210" y="4305159"/>
                  <a:pt x="2363251" y="4309758"/>
                  <a:pt x="2366853" y="4315997"/>
                </a:cubicBezTo>
                <a:cubicBezTo>
                  <a:pt x="2366853" y="4315997"/>
                  <a:pt x="2365974" y="4319277"/>
                  <a:pt x="2365974" y="4319277"/>
                </a:cubicBezTo>
                <a:cubicBezTo>
                  <a:pt x="2369254" y="4320156"/>
                  <a:pt x="2368375" y="4323435"/>
                  <a:pt x="2369254" y="4320156"/>
                </a:cubicBezTo>
                <a:cubicBezTo>
                  <a:pt x="2369254" y="4320156"/>
                  <a:pt x="2369254" y="4320156"/>
                  <a:pt x="2372534" y="4321034"/>
                </a:cubicBezTo>
                <a:cubicBezTo>
                  <a:pt x="2374935" y="4325194"/>
                  <a:pt x="2374056" y="4328473"/>
                  <a:pt x="2373178" y="4331754"/>
                </a:cubicBezTo>
                <a:cubicBezTo>
                  <a:pt x="2370777" y="4327595"/>
                  <a:pt x="2370777" y="4327595"/>
                  <a:pt x="2370777" y="4327595"/>
                </a:cubicBezTo>
                <a:cubicBezTo>
                  <a:pt x="2368375" y="4323435"/>
                  <a:pt x="2365094" y="4322557"/>
                  <a:pt x="2365094" y="4322557"/>
                </a:cubicBezTo>
                <a:cubicBezTo>
                  <a:pt x="2364216" y="4325838"/>
                  <a:pt x="2363338" y="4329117"/>
                  <a:pt x="2366617" y="4329996"/>
                </a:cubicBezTo>
                <a:cubicBezTo>
                  <a:pt x="2365738" y="4333277"/>
                  <a:pt x="2365738" y="4333277"/>
                  <a:pt x="2365738" y="4333277"/>
                </a:cubicBezTo>
                <a:cubicBezTo>
                  <a:pt x="2362457" y="4332397"/>
                  <a:pt x="2357012" y="4313358"/>
                  <a:pt x="2352853" y="4315761"/>
                </a:cubicBezTo>
                <a:cubicBezTo>
                  <a:pt x="2377746" y="4354073"/>
                  <a:pt x="2403280" y="4403105"/>
                  <a:pt x="2430574" y="4445576"/>
                </a:cubicBezTo>
                <a:cubicBezTo>
                  <a:pt x="2432976" y="4449735"/>
                  <a:pt x="2438656" y="4454774"/>
                  <a:pt x="2441059" y="4458934"/>
                </a:cubicBezTo>
                <a:cubicBezTo>
                  <a:pt x="2444338" y="4459812"/>
                  <a:pt x="2441059" y="4458934"/>
                  <a:pt x="2443460" y="4463092"/>
                </a:cubicBezTo>
                <a:cubicBezTo>
                  <a:pt x="2465951" y="4497245"/>
                  <a:pt x="2497403" y="4537315"/>
                  <a:pt x="2533015" y="4574984"/>
                </a:cubicBezTo>
                <a:cubicBezTo>
                  <a:pt x="2535417" y="4579142"/>
                  <a:pt x="2534538" y="4582423"/>
                  <a:pt x="2537817" y="4583302"/>
                </a:cubicBezTo>
                <a:cubicBezTo>
                  <a:pt x="2534538" y="4582423"/>
                  <a:pt x="2531257" y="4581545"/>
                  <a:pt x="2529736" y="4574104"/>
                </a:cubicBezTo>
                <a:cubicBezTo>
                  <a:pt x="2528856" y="4577385"/>
                  <a:pt x="2525577" y="4576505"/>
                  <a:pt x="2523175" y="4572347"/>
                </a:cubicBezTo>
                <a:cubicBezTo>
                  <a:pt x="2527333" y="4569946"/>
                  <a:pt x="2515091" y="4563149"/>
                  <a:pt x="2511810" y="4562270"/>
                </a:cubicBezTo>
                <a:cubicBezTo>
                  <a:pt x="2511810" y="4562270"/>
                  <a:pt x="2512690" y="4558989"/>
                  <a:pt x="2509409" y="4558111"/>
                </a:cubicBezTo>
                <a:cubicBezTo>
                  <a:pt x="2509409" y="4558111"/>
                  <a:pt x="2506129" y="4557232"/>
                  <a:pt x="2506129" y="4557232"/>
                </a:cubicBezTo>
                <a:cubicBezTo>
                  <a:pt x="2497168" y="4551315"/>
                  <a:pt x="2477722" y="4532041"/>
                  <a:pt x="2480123" y="4536200"/>
                </a:cubicBezTo>
                <a:cubicBezTo>
                  <a:pt x="2483403" y="4537079"/>
                  <a:pt x="2482524" y="4540361"/>
                  <a:pt x="2485806" y="4541239"/>
                </a:cubicBezTo>
                <a:cubicBezTo>
                  <a:pt x="2482524" y="4540361"/>
                  <a:pt x="2479243" y="4539480"/>
                  <a:pt x="2479243" y="4539480"/>
                </a:cubicBezTo>
                <a:cubicBezTo>
                  <a:pt x="2479243" y="4539480"/>
                  <a:pt x="2478364" y="4542760"/>
                  <a:pt x="2480766" y="4546920"/>
                </a:cubicBezTo>
                <a:cubicBezTo>
                  <a:pt x="2480766" y="4546920"/>
                  <a:pt x="2480766" y="4546920"/>
                  <a:pt x="2477486" y="4546041"/>
                </a:cubicBezTo>
                <a:cubicBezTo>
                  <a:pt x="2477486" y="4546041"/>
                  <a:pt x="2478364" y="4542760"/>
                  <a:pt x="2475085" y="4541882"/>
                </a:cubicBezTo>
                <a:cubicBezTo>
                  <a:pt x="2475085" y="4541882"/>
                  <a:pt x="2475085" y="4541882"/>
                  <a:pt x="2471804" y="4541004"/>
                </a:cubicBezTo>
                <a:cubicBezTo>
                  <a:pt x="2463722" y="4531805"/>
                  <a:pt x="2458040" y="4526767"/>
                  <a:pt x="2454760" y="4525889"/>
                </a:cubicBezTo>
                <a:cubicBezTo>
                  <a:pt x="2451480" y="4525010"/>
                  <a:pt x="2451480" y="4525010"/>
                  <a:pt x="2451480" y="4525010"/>
                </a:cubicBezTo>
                <a:cubicBezTo>
                  <a:pt x="2451480" y="4525010"/>
                  <a:pt x="2451480" y="4525010"/>
                  <a:pt x="2453881" y="4529170"/>
                </a:cubicBezTo>
                <a:cubicBezTo>
                  <a:pt x="2451480" y="4525010"/>
                  <a:pt x="2450600" y="4528289"/>
                  <a:pt x="2453001" y="4532449"/>
                </a:cubicBezTo>
                <a:cubicBezTo>
                  <a:pt x="2434434" y="4509895"/>
                  <a:pt x="2419790" y="4498940"/>
                  <a:pt x="2402746" y="4483825"/>
                </a:cubicBezTo>
                <a:cubicBezTo>
                  <a:pt x="2388982" y="4469589"/>
                  <a:pt x="2375217" y="4455354"/>
                  <a:pt x="2356651" y="4432800"/>
                </a:cubicBezTo>
                <a:cubicBezTo>
                  <a:pt x="2359052" y="4436959"/>
                  <a:pt x="2355771" y="4436080"/>
                  <a:pt x="2353370" y="4431922"/>
                </a:cubicBezTo>
                <a:cubicBezTo>
                  <a:pt x="2353370" y="4431922"/>
                  <a:pt x="2353370" y="4431922"/>
                  <a:pt x="2354248" y="4428641"/>
                </a:cubicBezTo>
                <a:cubicBezTo>
                  <a:pt x="2354248" y="4428641"/>
                  <a:pt x="2350968" y="4427762"/>
                  <a:pt x="2350968" y="4427762"/>
                </a:cubicBezTo>
                <a:cubicBezTo>
                  <a:pt x="2348567" y="4423602"/>
                  <a:pt x="2348567" y="4423602"/>
                  <a:pt x="2348567" y="4423602"/>
                </a:cubicBezTo>
                <a:cubicBezTo>
                  <a:pt x="2340484" y="4414406"/>
                  <a:pt x="2340484" y="4414406"/>
                  <a:pt x="2340484" y="4414406"/>
                </a:cubicBezTo>
                <a:cubicBezTo>
                  <a:pt x="2339605" y="4417686"/>
                  <a:pt x="2337204" y="4413526"/>
                  <a:pt x="2333924" y="4412648"/>
                </a:cubicBezTo>
                <a:cubicBezTo>
                  <a:pt x="2338726" y="4420965"/>
                  <a:pt x="2339605" y="4417686"/>
                  <a:pt x="2345288" y="4422724"/>
                </a:cubicBezTo>
                <a:cubicBezTo>
                  <a:pt x="2345288" y="4422724"/>
                  <a:pt x="2344408" y="4426004"/>
                  <a:pt x="2344408" y="4426004"/>
                </a:cubicBezTo>
                <a:cubicBezTo>
                  <a:pt x="2344408" y="4426004"/>
                  <a:pt x="2344408" y="4426004"/>
                  <a:pt x="2341128" y="4425125"/>
                </a:cubicBezTo>
                <a:cubicBezTo>
                  <a:pt x="2340249" y="4428405"/>
                  <a:pt x="2343530" y="4429285"/>
                  <a:pt x="2343530" y="4429285"/>
                </a:cubicBezTo>
                <a:cubicBezTo>
                  <a:pt x="2343530" y="4429285"/>
                  <a:pt x="2346809" y="4430163"/>
                  <a:pt x="2346809" y="4430163"/>
                </a:cubicBezTo>
                <a:cubicBezTo>
                  <a:pt x="2349211" y="4434323"/>
                  <a:pt x="2349211" y="4434323"/>
                  <a:pt x="2349211" y="4434323"/>
                </a:cubicBezTo>
                <a:cubicBezTo>
                  <a:pt x="2351612" y="4438481"/>
                  <a:pt x="2361453" y="4441118"/>
                  <a:pt x="2357293" y="4443519"/>
                </a:cubicBezTo>
                <a:cubicBezTo>
                  <a:pt x="2358816" y="4450959"/>
                  <a:pt x="2361453" y="4441118"/>
                  <a:pt x="2363854" y="4445278"/>
                </a:cubicBezTo>
                <a:cubicBezTo>
                  <a:pt x="2366255" y="4449436"/>
                  <a:pt x="2362976" y="4448558"/>
                  <a:pt x="2362096" y="4451837"/>
                </a:cubicBezTo>
                <a:cubicBezTo>
                  <a:pt x="2367778" y="4456877"/>
                  <a:pt x="2382421" y="4467832"/>
                  <a:pt x="2382421" y="4467832"/>
                </a:cubicBezTo>
                <a:cubicBezTo>
                  <a:pt x="2393784" y="4477909"/>
                  <a:pt x="2409071" y="4499583"/>
                  <a:pt x="2414753" y="4504621"/>
                </a:cubicBezTo>
                <a:cubicBezTo>
                  <a:pt x="2417154" y="4508780"/>
                  <a:pt x="2414753" y="4504621"/>
                  <a:pt x="2415632" y="4501341"/>
                </a:cubicBezTo>
                <a:cubicBezTo>
                  <a:pt x="2414753" y="4504621"/>
                  <a:pt x="2420434" y="4509659"/>
                  <a:pt x="2420434" y="4509659"/>
                </a:cubicBezTo>
                <a:cubicBezTo>
                  <a:pt x="2420434" y="4509659"/>
                  <a:pt x="2426995" y="4511417"/>
                  <a:pt x="2426995" y="4511417"/>
                </a:cubicBezTo>
                <a:cubicBezTo>
                  <a:pt x="2429396" y="4515576"/>
                  <a:pt x="2422835" y="4513819"/>
                  <a:pt x="2426115" y="4514697"/>
                </a:cubicBezTo>
                <a:cubicBezTo>
                  <a:pt x="2427638" y="4522137"/>
                  <a:pt x="2435957" y="4517335"/>
                  <a:pt x="2430919" y="4523015"/>
                </a:cubicBezTo>
                <a:cubicBezTo>
                  <a:pt x="2443161" y="4529812"/>
                  <a:pt x="2466765" y="4546684"/>
                  <a:pt x="2470691" y="4558283"/>
                </a:cubicBezTo>
                <a:cubicBezTo>
                  <a:pt x="2467410" y="4557404"/>
                  <a:pt x="2468290" y="4554125"/>
                  <a:pt x="2472448" y="4551724"/>
                </a:cubicBezTo>
                <a:cubicBezTo>
                  <a:pt x="2491015" y="4574276"/>
                  <a:pt x="2521824" y="4603628"/>
                  <a:pt x="2534066" y="4610424"/>
                </a:cubicBezTo>
                <a:cubicBezTo>
                  <a:pt x="2539747" y="4615461"/>
                  <a:pt x="2568798" y="4651372"/>
                  <a:pt x="2585200" y="4655767"/>
                </a:cubicBezTo>
                <a:cubicBezTo>
                  <a:pt x="2590883" y="4660805"/>
                  <a:pt x="2585200" y="4655767"/>
                  <a:pt x="2584321" y="4659048"/>
                </a:cubicBezTo>
                <a:cubicBezTo>
                  <a:pt x="2594162" y="4661685"/>
                  <a:pt x="2610329" y="4680079"/>
                  <a:pt x="2618411" y="4689276"/>
                </a:cubicBezTo>
                <a:cubicBezTo>
                  <a:pt x="2618411" y="4689276"/>
                  <a:pt x="2612728" y="4684238"/>
                  <a:pt x="2608571" y="4686639"/>
                </a:cubicBezTo>
                <a:cubicBezTo>
                  <a:pt x="2629774" y="4699352"/>
                  <a:pt x="2624093" y="4694314"/>
                  <a:pt x="2622570" y="4686874"/>
                </a:cubicBezTo>
                <a:cubicBezTo>
                  <a:pt x="2645297" y="4707027"/>
                  <a:pt x="2648577" y="4707906"/>
                  <a:pt x="2658183" y="4724543"/>
                </a:cubicBezTo>
                <a:cubicBezTo>
                  <a:pt x="2658183" y="4724543"/>
                  <a:pt x="2660584" y="4728703"/>
                  <a:pt x="2660584" y="4728703"/>
                </a:cubicBezTo>
                <a:cubicBezTo>
                  <a:pt x="2660584" y="4728703"/>
                  <a:pt x="2660584" y="4728703"/>
                  <a:pt x="2663864" y="4729582"/>
                </a:cubicBezTo>
                <a:cubicBezTo>
                  <a:pt x="2663864" y="4729582"/>
                  <a:pt x="2664742" y="4726302"/>
                  <a:pt x="2664742" y="4726302"/>
                </a:cubicBezTo>
                <a:cubicBezTo>
                  <a:pt x="2664742" y="4726302"/>
                  <a:pt x="2668024" y="4727180"/>
                  <a:pt x="2670424" y="4731340"/>
                </a:cubicBezTo>
                <a:cubicBezTo>
                  <a:pt x="2670424" y="4731340"/>
                  <a:pt x="2670424" y="4731340"/>
                  <a:pt x="2667143" y="4730462"/>
                </a:cubicBezTo>
                <a:cubicBezTo>
                  <a:pt x="2667143" y="4730462"/>
                  <a:pt x="2667143" y="4730462"/>
                  <a:pt x="2666265" y="4733741"/>
                </a:cubicBezTo>
                <a:cubicBezTo>
                  <a:pt x="2669544" y="4734620"/>
                  <a:pt x="2669544" y="4734620"/>
                  <a:pt x="2672825" y="4735499"/>
                </a:cubicBezTo>
                <a:cubicBezTo>
                  <a:pt x="2675227" y="4739658"/>
                  <a:pt x="2675227" y="4739658"/>
                  <a:pt x="2675227" y="4739658"/>
                </a:cubicBezTo>
                <a:cubicBezTo>
                  <a:pt x="2677628" y="4743816"/>
                  <a:pt x="2692272" y="4754773"/>
                  <a:pt x="2685067" y="4742295"/>
                </a:cubicBezTo>
                <a:cubicBezTo>
                  <a:pt x="2687468" y="4746453"/>
                  <a:pt x="2687468" y="4746453"/>
                  <a:pt x="2690749" y="4747334"/>
                </a:cubicBezTo>
                <a:cubicBezTo>
                  <a:pt x="2690749" y="4747334"/>
                  <a:pt x="2691628" y="4744052"/>
                  <a:pt x="2688348" y="4743174"/>
                </a:cubicBezTo>
                <a:cubicBezTo>
                  <a:pt x="2688348" y="4743174"/>
                  <a:pt x="2689227" y="4739894"/>
                  <a:pt x="2685948" y="4739014"/>
                </a:cubicBezTo>
                <a:cubicBezTo>
                  <a:pt x="2689227" y="4739894"/>
                  <a:pt x="2692507" y="4740773"/>
                  <a:pt x="2692507" y="4740773"/>
                </a:cubicBezTo>
                <a:cubicBezTo>
                  <a:pt x="2694908" y="4744932"/>
                  <a:pt x="2700590" y="4749969"/>
                  <a:pt x="2709552" y="4755887"/>
                </a:cubicBezTo>
                <a:cubicBezTo>
                  <a:pt x="2720915" y="4765962"/>
                  <a:pt x="2732277" y="4776040"/>
                  <a:pt x="2741239" y="4781956"/>
                </a:cubicBezTo>
                <a:cubicBezTo>
                  <a:pt x="2744521" y="4782835"/>
                  <a:pt x="2743642" y="4786115"/>
                  <a:pt x="2743642" y="4786115"/>
                </a:cubicBezTo>
                <a:cubicBezTo>
                  <a:pt x="2743642" y="4786115"/>
                  <a:pt x="2746921" y="4786995"/>
                  <a:pt x="2746921" y="4786995"/>
                </a:cubicBezTo>
                <a:cubicBezTo>
                  <a:pt x="2753482" y="4788752"/>
                  <a:pt x="2759163" y="4793792"/>
                  <a:pt x="2761565" y="4797950"/>
                </a:cubicBezTo>
                <a:cubicBezTo>
                  <a:pt x="2764845" y="4798829"/>
                  <a:pt x="2770527" y="4803867"/>
                  <a:pt x="2773807" y="4804745"/>
                </a:cubicBezTo>
                <a:cubicBezTo>
                  <a:pt x="2779488" y="4809785"/>
                  <a:pt x="2787572" y="4818982"/>
                  <a:pt x="2793253" y="4824020"/>
                </a:cubicBezTo>
                <a:cubicBezTo>
                  <a:pt x="2792374" y="4827301"/>
                  <a:pt x="2792374" y="4827301"/>
                  <a:pt x="2792374" y="4827301"/>
                </a:cubicBezTo>
                <a:cubicBezTo>
                  <a:pt x="2795656" y="4828179"/>
                  <a:pt x="2795656" y="4828179"/>
                  <a:pt x="2798935" y="4829058"/>
                </a:cubicBezTo>
                <a:cubicBezTo>
                  <a:pt x="2801336" y="4833218"/>
                  <a:pt x="2802215" y="4829937"/>
                  <a:pt x="2802215" y="4829937"/>
                </a:cubicBezTo>
                <a:cubicBezTo>
                  <a:pt x="2799813" y="4825779"/>
                  <a:pt x="2799813" y="4825779"/>
                  <a:pt x="2799813" y="4825779"/>
                </a:cubicBezTo>
                <a:cubicBezTo>
                  <a:pt x="2805496" y="4830815"/>
                  <a:pt x="2812700" y="4843294"/>
                  <a:pt x="2820139" y="4841771"/>
                </a:cubicBezTo>
                <a:cubicBezTo>
                  <a:pt x="2819259" y="4845051"/>
                  <a:pt x="2819259" y="4845051"/>
                  <a:pt x="2822540" y="4845931"/>
                </a:cubicBezTo>
                <a:cubicBezTo>
                  <a:pt x="2824941" y="4850090"/>
                  <a:pt x="2825821" y="4846810"/>
                  <a:pt x="2825821" y="4846810"/>
                </a:cubicBezTo>
                <a:cubicBezTo>
                  <a:pt x="2833903" y="4856008"/>
                  <a:pt x="2845502" y="4852082"/>
                  <a:pt x="2847025" y="4859523"/>
                </a:cubicBezTo>
                <a:cubicBezTo>
                  <a:pt x="2843744" y="4858645"/>
                  <a:pt x="2843744" y="4858645"/>
                  <a:pt x="2843744" y="4858645"/>
                </a:cubicBezTo>
                <a:cubicBezTo>
                  <a:pt x="2838063" y="4853605"/>
                  <a:pt x="2834782" y="4852727"/>
                  <a:pt x="2833903" y="4856008"/>
                </a:cubicBezTo>
                <a:cubicBezTo>
                  <a:pt x="2833903" y="4856008"/>
                  <a:pt x="2836304" y="4860166"/>
                  <a:pt x="2839585" y="4861046"/>
                </a:cubicBezTo>
                <a:cubicBezTo>
                  <a:pt x="2841985" y="4865204"/>
                  <a:pt x="2841985" y="4865204"/>
                  <a:pt x="2841985" y="4865204"/>
                </a:cubicBezTo>
                <a:cubicBezTo>
                  <a:pt x="2840228" y="4871765"/>
                  <a:pt x="2831266" y="4865848"/>
                  <a:pt x="2829743" y="4858407"/>
                </a:cubicBezTo>
                <a:cubicBezTo>
                  <a:pt x="2831266" y="4865848"/>
                  <a:pt x="2815743" y="4858173"/>
                  <a:pt x="2824705" y="4864090"/>
                </a:cubicBezTo>
                <a:cubicBezTo>
                  <a:pt x="2833023" y="4859287"/>
                  <a:pt x="2831030" y="4879849"/>
                  <a:pt x="2845031" y="4880083"/>
                </a:cubicBezTo>
                <a:cubicBezTo>
                  <a:pt x="2847433" y="4884243"/>
                  <a:pt x="2847433" y="4884243"/>
                  <a:pt x="2847433" y="4884243"/>
                </a:cubicBezTo>
                <a:cubicBezTo>
                  <a:pt x="2847433" y="4884243"/>
                  <a:pt x="2850711" y="4885122"/>
                  <a:pt x="2850711" y="4885122"/>
                </a:cubicBezTo>
                <a:cubicBezTo>
                  <a:pt x="2853114" y="4889281"/>
                  <a:pt x="2853993" y="4886000"/>
                  <a:pt x="2853993" y="4886000"/>
                </a:cubicBezTo>
                <a:cubicBezTo>
                  <a:pt x="2850711" y="4885122"/>
                  <a:pt x="2851592" y="4881842"/>
                  <a:pt x="2851592" y="4881842"/>
                </a:cubicBezTo>
                <a:cubicBezTo>
                  <a:pt x="2854871" y="4882720"/>
                  <a:pt x="2860553" y="4887759"/>
                  <a:pt x="2861432" y="4884479"/>
                </a:cubicBezTo>
                <a:cubicBezTo>
                  <a:pt x="2859030" y="4880319"/>
                  <a:pt x="2864713" y="4885357"/>
                  <a:pt x="2865592" y="4882076"/>
                </a:cubicBezTo>
                <a:cubicBezTo>
                  <a:pt x="2859909" y="4877039"/>
                  <a:pt x="2856630" y="4876159"/>
                  <a:pt x="2850949" y="4871121"/>
                </a:cubicBezTo>
                <a:cubicBezTo>
                  <a:pt x="2854228" y="4872001"/>
                  <a:pt x="2854228" y="4872001"/>
                  <a:pt x="2854228" y="4872001"/>
                </a:cubicBezTo>
                <a:cubicBezTo>
                  <a:pt x="2857508" y="4872880"/>
                  <a:pt x="2860789" y="4873758"/>
                  <a:pt x="2861667" y="4870478"/>
                </a:cubicBezTo>
                <a:lnTo>
                  <a:pt x="2856769" y="4866135"/>
                </a:lnTo>
                <a:lnTo>
                  <a:pt x="2862737" y="4868128"/>
                </a:lnTo>
                <a:cubicBezTo>
                  <a:pt x="2866808" y="4870976"/>
                  <a:pt x="2871069" y="4874755"/>
                  <a:pt x="2877189" y="4878154"/>
                </a:cubicBezTo>
                <a:cubicBezTo>
                  <a:pt x="2861025" y="4859758"/>
                  <a:pt x="2881349" y="4875751"/>
                  <a:pt x="2889669" y="4870949"/>
                </a:cubicBezTo>
                <a:cubicBezTo>
                  <a:pt x="2892070" y="4875108"/>
                  <a:pt x="2885509" y="4873350"/>
                  <a:pt x="2885509" y="4873350"/>
                </a:cubicBezTo>
                <a:cubicBezTo>
                  <a:pt x="2884630" y="4876631"/>
                  <a:pt x="2884630" y="4876631"/>
                  <a:pt x="2884630" y="4876631"/>
                </a:cubicBezTo>
                <a:cubicBezTo>
                  <a:pt x="2881349" y="4875751"/>
                  <a:pt x="2881349" y="4875751"/>
                  <a:pt x="2883750" y="4879911"/>
                </a:cubicBezTo>
                <a:cubicBezTo>
                  <a:pt x="2883750" y="4879911"/>
                  <a:pt x="2887032" y="4880791"/>
                  <a:pt x="2890311" y="4881670"/>
                </a:cubicBezTo>
                <a:cubicBezTo>
                  <a:pt x="2893590" y="4882548"/>
                  <a:pt x="2893590" y="4882548"/>
                  <a:pt x="2893590" y="4882548"/>
                </a:cubicBezTo>
                <a:cubicBezTo>
                  <a:pt x="2895993" y="4886708"/>
                  <a:pt x="2891834" y="4889109"/>
                  <a:pt x="2898394" y="4890866"/>
                </a:cubicBezTo>
                <a:cubicBezTo>
                  <a:pt x="2895113" y="4889987"/>
                  <a:pt x="2895113" y="4889987"/>
                  <a:pt x="2891834" y="4889109"/>
                </a:cubicBezTo>
                <a:cubicBezTo>
                  <a:pt x="2888554" y="4888230"/>
                  <a:pt x="2887674" y="4891511"/>
                  <a:pt x="2890953" y="4892389"/>
                </a:cubicBezTo>
                <a:cubicBezTo>
                  <a:pt x="2890075" y="4895668"/>
                  <a:pt x="2893356" y="4896549"/>
                  <a:pt x="2896636" y="4897427"/>
                </a:cubicBezTo>
                <a:cubicBezTo>
                  <a:pt x="2899915" y="4898305"/>
                  <a:pt x="2899915" y="4898305"/>
                  <a:pt x="2903197" y="4899185"/>
                </a:cubicBezTo>
                <a:cubicBezTo>
                  <a:pt x="2909757" y="4900942"/>
                  <a:pt x="2917197" y="4899421"/>
                  <a:pt x="2911514" y="4894383"/>
                </a:cubicBezTo>
                <a:cubicBezTo>
                  <a:pt x="2914795" y="4895261"/>
                  <a:pt x="2914795" y="4895261"/>
                  <a:pt x="2915674" y="4891980"/>
                </a:cubicBezTo>
                <a:cubicBezTo>
                  <a:pt x="2915674" y="4891980"/>
                  <a:pt x="2915674" y="4891980"/>
                  <a:pt x="2913273" y="4887822"/>
                </a:cubicBezTo>
                <a:cubicBezTo>
                  <a:pt x="2916553" y="4888701"/>
                  <a:pt x="2922235" y="4893739"/>
                  <a:pt x="2928796" y="4895497"/>
                </a:cubicBezTo>
                <a:cubicBezTo>
                  <a:pt x="2922235" y="4893739"/>
                  <a:pt x="2916553" y="4888701"/>
                  <a:pt x="2918954" y="4892860"/>
                </a:cubicBezTo>
                <a:cubicBezTo>
                  <a:pt x="2920476" y="4900299"/>
                  <a:pt x="2928796" y="4895497"/>
                  <a:pt x="2930317" y="4902935"/>
                </a:cubicBezTo>
                <a:cubicBezTo>
                  <a:pt x="2929439" y="4906217"/>
                  <a:pt x="2929439" y="4906217"/>
                  <a:pt x="2929439" y="4906217"/>
                </a:cubicBezTo>
                <a:cubicBezTo>
                  <a:pt x="2929439" y="4906217"/>
                  <a:pt x="2929439" y="4906217"/>
                  <a:pt x="2932718" y="4907095"/>
                </a:cubicBezTo>
                <a:cubicBezTo>
                  <a:pt x="2932718" y="4907095"/>
                  <a:pt x="2932718" y="4907095"/>
                  <a:pt x="2935999" y="4907975"/>
                </a:cubicBezTo>
                <a:cubicBezTo>
                  <a:pt x="2936878" y="4904694"/>
                  <a:pt x="2936878" y="4904694"/>
                  <a:pt x="2936878" y="4904694"/>
                </a:cubicBezTo>
                <a:cubicBezTo>
                  <a:pt x="2939281" y="4908854"/>
                  <a:pt x="2939281" y="4908854"/>
                  <a:pt x="2941680" y="4913011"/>
                </a:cubicBezTo>
                <a:cubicBezTo>
                  <a:pt x="2949121" y="4911491"/>
                  <a:pt x="2954802" y="4916527"/>
                  <a:pt x="2961363" y="4918285"/>
                </a:cubicBezTo>
                <a:cubicBezTo>
                  <a:pt x="2958082" y="4917407"/>
                  <a:pt x="2954802" y="4916527"/>
                  <a:pt x="2954802" y="4916527"/>
                </a:cubicBezTo>
                <a:cubicBezTo>
                  <a:pt x="2967044" y="4923324"/>
                  <a:pt x="2964643" y="4919164"/>
                  <a:pt x="2972726" y="4928362"/>
                </a:cubicBezTo>
                <a:cubicBezTo>
                  <a:pt x="2969445" y="4927484"/>
                  <a:pt x="2968566" y="4930764"/>
                  <a:pt x="2968566" y="4930764"/>
                </a:cubicBezTo>
                <a:cubicBezTo>
                  <a:pt x="2968566" y="4930764"/>
                  <a:pt x="2971848" y="4931642"/>
                  <a:pt x="2971848" y="4931642"/>
                </a:cubicBezTo>
                <a:cubicBezTo>
                  <a:pt x="2970967" y="4934923"/>
                  <a:pt x="2970967" y="4934923"/>
                  <a:pt x="2970967" y="4934923"/>
                </a:cubicBezTo>
                <a:cubicBezTo>
                  <a:pt x="2953045" y="4923088"/>
                  <a:pt x="2967688" y="4934044"/>
                  <a:pt x="2966810" y="4937324"/>
                </a:cubicBezTo>
                <a:cubicBezTo>
                  <a:pt x="2957847" y="4931407"/>
                  <a:pt x="2948885" y="4925491"/>
                  <a:pt x="2939043" y="4922854"/>
                </a:cubicBezTo>
                <a:cubicBezTo>
                  <a:pt x="2939923" y="4919573"/>
                  <a:pt x="2939923" y="4919573"/>
                  <a:pt x="2939923" y="4919573"/>
                </a:cubicBezTo>
                <a:cubicBezTo>
                  <a:pt x="2934243" y="4914534"/>
                  <a:pt x="2930961" y="4913655"/>
                  <a:pt x="2927680" y="4912777"/>
                </a:cubicBezTo>
                <a:cubicBezTo>
                  <a:pt x="2933362" y="4917815"/>
                  <a:pt x="2936642" y="4918694"/>
                  <a:pt x="2935764" y="4921974"/>
                </a:cubicBezTo>
                <a:cubicBezTo>
                  <a:pt x="2926802" y="4916057"/>
                  <a:pt x="2925924" y="4919338"/>
                  <a:pt x="2920241" y="4914300"/>
                </a:cubicBezTo>
                <a:cubicBezTo>
                  <a:pt x="2920241" y="4914300"/>
                  <a:pt x="2916961" y="4913420"/>
                  <a:pt x="2917839" y="4910140"/>
                </a:cubicBezTo>
                <a:cubicBezTo>
                  <a:pt x="2914560" y="4909260"/>
                  <a:pt x="2914560" y="4909260"/>
                  <a:pt x="2914560" y="4909260"/>
                </a:cubicBezTo>
                <a:cubicBezTo>
                  <a:pt x="2911279" y="4908382"/>
                  <a:pt x="2907999" y="4907503"/>
                  <a:pt x="2910401" y="4911663"/>
                </a:cubicBezTo>
                <a:cubicBezTo>
                  <a:pt x="2912801" y="4915821"/>
                  <a:pt x="2912801" y="4915821"/>
                  <a:pt x="2912801" y="4915821"/>
                </a:cubicBezTo>
                <a:cubicBezTo>
                  <a:pt x="2911923" y="4919100"/>
                  <a:pt x="2915203" y="4919981"/>
                  <a:pt x="2918484" y="4920859"/>
                </a:cubicBezTo>
                <a:cubicBezTo>
                  <a:pt x="2921765" y="4921739"/>
                  <a:pt x="2921765" y="4921739"/>
                  <a:pt x="2921765" y="4921739"/>
                </a:cubicBezTo>
                <a:cubicBezTo>
                  <a:pt x="2922643" y="4918458"/>
                  <a:pt x="2922643" y="4918458"/>
                  <a:pt x="2922643" y="4918458"/>
                </a:cubicBezTo>
                <a:cubicBezTo>
                  <a:pt x="2932484" y="4921095"/>
                  <a:pt x="2952809" y="4937090"/>
                  <a:pt x="2965929" y="4940604"/>
                </a:cubicBezTo>
                <a:cubicBezTo>
                  <a:pt x="2968331" y="4944764"/>
                  <a:pt x="2968331" y="4944764"/>
                  <a:pt x="2968331" y="4944764"/>
                </a:cubicBezTo>
                <a:cubicBezTo>
                  <a:pt x="2968331" y="4944764"/>
                  <a:pt x="2968331" y="4944764"/>
                  <a:pt x="2971612" y="4945642"/>
                </a:cubicBezTo>
                <a:cubicBezTo>
                  <a:pt x="2971612" y="4945642"/>
                  <a:pt x="2974892" y="4946522"/>
                  <a:pt x="2974892" y="4946522"/>
                </a:cubicBezTo>
                <a:cubicBezTo>
                  <a:pt x="2981452" y="4948279"/>
                  <a:pt x="2990414" y="4954196"/>
                  <a:pt x="2992815" y="4958356"/>
                </a:cubicBezTo>
                <a:cubicBezTo>
                  <a:pt x="2993695" y="4955076"/>
                  <a:pt x="2993695" y="4955076"/>
                  <a:pt x="2993695" y="4955076"/>
                </a:cubicBezTo>
                <a:cubicBezTo>
                  <a:pt x="2996095" y="4959234"/>
                  <a:pt x="2996095" y="4959234"/>
                  <a:pt x="2996095" y="4959234"/>
                </a:cubicBezTo>
                <a:cubicBezTo>
                  <a:pt x="2996095" y="4959234"/>
                  <a:pt x="2998496" y="4963394"/>
                  <a:pt x="3001778" y="4964274"/>
                </a:cubicBezTo>
                <a:cubicBezTo>
                  <a:pt x="3001778" y="4964274"/>
                  <a:pt x="3005057" y="4965153"/>
                  <a:pt x="3005937" y="4961873"/>
                </a:cubicBezTo>
                <a:cubicBezTo>
                  <a:pt x="3037859" y="4973942"/>
                  <a:pt x="3051624" y="4988177"/>
                  <a:pt x="3075465" y="4991048"/>
                </a:cubicBezTo>
                <a:cubicBezTo>
                  <a:pt x="3074587" y="4994330"/>
                  <a:pt x="3077866" y="4995208"/>
                  <a:pt x="3081147" y="4996088"/>
                </a:cubicBezTo>
                <a:cubicBezTo>
                  <a:pt x="3081147" y="4996088"/>
                  <a:pt x="3084428" y="4996967"/>
                  <a:pt x="3084428" y="4996967"/>
                </a:cubicBezTo>
                <a:cubicBezTo>
                  <a:pt x="3085306" y="4993685"/>
                  <a:pt x="3085306" y="4993685"/>
                  <a:pt x="3085306" y="4993685"/>
                </a:cubicBezTo>
                <a:cubicBezTo>
                  <a:pt x="3086829" y="5001126"/>
                  <a:pt x="3096669" y="5003762"/>
                  <a:pt x="3103230" y="5005520"/>
                </a:cubicBezTo>
                <a:cubicBezTo>
                  <a:pt x="3103230" y="5005520"/>
                  <a:pt x="3106511" y="5006399"/>
                  <a:pt x="3106511" y="5006399"/>
                </a:cubicBezTo>
                <a:cubicBezTo>
                  <a:pt x="3108911" y="5010558"/>
                  <a:pt x="3108911" y="5010558"/>
                  <a:pt x="3113070" y="5008157"/>
                </a:cubicBezTo>
                <a:cubicBezTo>
                  <a:pt x="3116351" y="5009036"/>
                  <a:pt x="3116351" y="5009036"/>
                  <a:pt x="3116351" y="5009036"/>
                </a:cubicBezTo>
                <a:cubicBezTo>
                  <a:pt x="3116351" y="5009036"/>
                  <a:pt x="3115473" y="5012317"/>
                  <a:pt x="3118751" y="5013195"/>
                </a:cubicBezTo>
                <a:cubicBezTo>
                  <a:pt x="3118751" y="5013195"/>
                  <a:pt x="3118751" y="5013195"/>
                  <a:pt x="3122032" y="5014073"/>
                </a:cubicBezTo>
                <a:cubicBezTo>
                  <a:pt x="3129472" y="5012551"/>
                  <a:pt x="3139956" y="5025909"/>
                  <a:pt x="3141713" y="5019348"/>
                </a:cubicBezTo>
                <a:cubicBezTo>
                  <a:pt x="3141713" y="5019348"/>
                  <a:pt x="3141713" y="5019348"/>
                  <a:pt x="3144995" y="5020227"/>
                </a:cubicBezTo>
                <a:cubicBezTo>
                  <a:pt x="3148274" y="5021105"/>
                  <a:pt x="3151555" y="5021985"/>
                  <a:pt x="3151555" y="5021985"/>
                </a:cubicBezTo>
                <a:cubicBezTo>
                  <a:pt x="3151555" y="5021985"/>
                  <a:pt x="3154835" y="5022864"/>
                  <a:pt x="3154835" y="5022864"/>
                </a:cubicBezTo>
                <a:cubicBezTo>
                  <a:pt x="3156358" y="5030304"/>
                  <a:pt x="3171237" y="5027258"/>
                  <a:pt x="3177797" y="5029016"/>
                </a:cubicBezTo>
                <a:cubicBezTo>
                  <a:pt x="3187638" y="5031653"/>
                  <a:pt x="3179319" y="5036456"/>
                  <a:pt x="3189161" y="5039093"/>
                </a:cubicBezTo>
                <a:cubicBezTo>
                  <a:pt x="3189161" y="5039093"/>
                  <a:pt x="3192440" y="5039972"/>
                  <a:pt x="3191561" y="5043251"/>
                </a:cubicBezTo>
                <a:cubicBezTo>
                  <a:pt x="3191561" y="5043251"/>
                  <a:pt x="3194841" y="5044131"/>
                  <a:pt x="3194841" y="5044131"/>
                </a:cubicBezTo>
                <a:cubicBezTo>
                  <a:pt x="3198123" y="5045010"/>
                  <a:pt x="3198123" y="5045010"/>
                  <a:pt x="3195720" y="5040850"/>
                </a:cubicBezTo>
                <a:cubicBezTo>
                  <a:pt x="3195720" y="5040850"/>
                  <a:pt x="3195720" y="5040850"/>
                  <a:pt x="3192440" y="5039972"/>
                </a:cubicBezTo>
                <a:cubicBezTo>
                  <a:pt x="3199880" y="5038449"/>
                  <a:pt x="3205562" y="5043487"/>
                  <a:pt x="3206440" y="5040207"/>
                </a:cubicBezTo>
                <a:cubicBezTo>
                  <a:pt x="3215401" y="5046124"/>
                  <a:pt x="3205562" y="5043487"/>
                  <a:pt x="3204682" y="5046768"/>
                </a:cubicBezTo>
                <a:lnTo>
                  <a:pt x="3200777" y="5049024"/>
                </a:lnTo>
                <a:lnTo>
                  <a:pt x="3182802" y="5042937"/>
                </a:lnTo>
                <a:cubicBezTo>
                  <a:pt x="3164319" y="5037490"/>
                  <a:pt x="3152140" y="5036205"/>
                  <a:pt x="3134918" y="5031590"/>
                </a:cubicBezTo>
                <a:cubicBezTo>
                  <a:pt x="3134918" y="5031590"/>
                  <a:pt x="3135797" y="5028310"/>
                  <a:pt x="3132517" y="5027430"/>
                </a:cubicBezTo>
                <a:cubicBezTo>
                  <a:pt x="3132517" y="5027430"/>
                  <a:pt x="3129237" y="5026552"/>
                  <a:pt x="3129237" y="5026552"/>
                </a:cubicBezTo>
                <a:cubicBezTo>
                  <a:pt x="3119395" y="5023915"/>
                  <a:pt x="3116116" y="5023036"/>
                  <a:pt x="3111956" y="5025438"/>
                </a:cubicBezTo>
                <a:cubicBezTo>
                  <a:pt x="3125078" y="5028953"/>
                  <a:pt x="3125078" y="5028953"/>
                  <a:pt x="3125078" y="5028953"/>
                </a:cubicBezTo>
                <a:cubicBezTo>
                  <a:pt x="3125078" y="5028953"/>
                  <a:pt x="3121797" y="5028075"/>
                  <a:pt x="3120918" y="5031354"/>
                </a:cubicBezTo>
                <a:cubicBezTo>
                  <a:pt x="3120918" y="5031354"/>
                  <a:pt x="3124199" y="5032234"/>
                  <a:pt x="3124199" y="5032234"/>
                </a:cubicBezTo>
                <a:cubicBezTo>
                  <a:pt x="3127479" y="5033113"/>
                  <a:pt x="3127479" y="5033113"/>
                  <a:pt x="3127479" y="5033113"/>
                </a:cubicBezTo>
                <a:cubicBezTo>
                  <a:pt x="3130758" y="5033991"/>
                  <a:pt x="3130758" y="5033991"/>
                  <a:pt x="3130758" y="5033991"/>
                </a:cubicBezTo>
                <a:cubicBezTo>
                  <a:pt x="3135561" y="5042309"/>
                  <a:pt x="3137083" y="5049750"/>
                  <a:pt x="3159167" y="5059182"/>
                </a:cubicBezTo>
                <a:cubicBezTo>
                  <a:pt x="3172053" y="5076698"/>
                  <a:pt x="3202217" y="5095329"/>
                  <a:pt x="3223421" y="5108042"/>
                </a:cubicBezTo>
                <a:cubicBezTo>
                  <a:pt x="3226702" y="5108920"/>
                  <a:pt x="3225824" y="5112200"/>
                  <a:pt x="3225824" y="5112200"/>
                </a:cubicBezTo>
                <a:cubicBezTo>
                  <a:pt x="3225824" y="5112200"/>
                  <a:pt x="3224945" y="5115481"/>
                  <a:pt x="3228223" y="5116360"/>
                </a:cubicBezTo>
                <a:cubicBezTo>
                  <a:pt x="3228223" y="5116360"/>
                  <a:pt x="3224945" y="5115481"/>
                  <a:pt x="3224065" y="5118761"/>
                </a:cubicBezTo>
                <a:cubicBezTo>
                  <a:pt x="3230626" y="5120519"/>
                  <a:pt x="3233907" y="5121398"/>
                  <a:pt x="3233907" y="5121398"/>
                </a:cubicBezTo>
                <a:cubicBezTo>
                  <a:pt x="3251830" y="5133233"/>
                  <a:pt x="3277193" y="5143544"/>
                  <a:pt x="3292714" y="5151219"/>
                </a:cubicBezTo>
                <a:cubicBezTo>
                  <a:pt x="3295117" y="5155379"/>
                  <a:pt x="3288556" y="5153620"/>
                  <a:pt x="3285275" y="5152742"/>
                </a:cubicBezTo>
                <a:cubicBezTo>
                  <a:pt x="3294237" y="5158659"/>
                  <a:pt x="3331842" y="5175767"/>
                  <a:pt x="3319365" y="5182971"/>
                </a:cubicBezTo>
                <a:cubicBezTo>
                  <a:pt x="3312805" y="5181213"/>
                  <a:pt x="3312805" y="5181213"/>
                  <a:pt x="3312805" y="5181213"/>
                </a:cubicBezTo>
                <a:cubicBezTo>
                  <a:pt x="3309524" y="5180334"/>
                  <a:pt x="3309524" y="5180334"/>
                  <a:pt x="3309524" y="5180334"/>
                </a:cubicBezTo>
                <a:cubicBezTo>
                  <a:pt x="3309524" y="5180334"/>
                  <a:pt x="3308645" y="5183614"/>
                  <a:pt x="3311927" y="5184492"/>
                </a:cubicBezTo>
                <a:cubicBezTo>
                  <a:pt x="3318486" y="5186251"/>
                  <a:pt x="3318486" y="5186251"/>
                  <a:pt x="3318486" y="5186251"/>
                </a:cubicBezTo>
                <a:cubicBezTo>
                  <a:pt x="3304486" y="5186015"/>
                  <a:pt x="3285683" y="5177461"/>
                  <a:pt x="3266002" y="5172187"/>
                </a:cubicBezTo>
                <a:cubicBezTo>
                  <a:pt x="3245205" y="5184194"/>
                  <a:pt x="3297454" y="5212257"/>
                  <a:pt x="3342499" y="5227844"/>
                </a:cubicBezTo>
                <a:cubicBezTo>
                  <a:pt x="3344900" y="5232004"/>
                  <a:pt x="3340742" y="5234405"/>
                  <a:pt x="3348824" y="5243600"/>
                </a:cubicBezTo>
                <a:cubicBezTo>
                  <a:pt x="3339862" y="5237684"/>
                  <a:pt x="3338984" y="5240964"/>
                  <a:pt x="3338105" y="5244245"/>
                </a:cubicBezTo>
                <a:cubicBezTo>
                  <a:pt x="3311863" y="5237212"/>
                  <a:pt x="3286500" y="5226901"/>
                  <a:pt x="3260257" y="5219869"/>
                </a:cubicBezTo>
                <a:cubicBezTo>
                  <a:pt x="3243856" y="5215475"/>
                  <a:pt x="3258499" y="5226430"/>
                  <a:pt x="3243621" y="5229475"/>
                </a:cubicBezTo>
                <a:cubicBezTo>
                  <a:pt x="3228099" y="5221800"/>
                  <a:pt x="3220658" y="5223323"/>
                  <a:pt x="3201857" y="5214769"/>
                </a:cubicBezTo>
                <a:cubicBezTo>
                  <a:pt x="3200977" y="5218050"/>
                  <a:pt x="3206659" y="5223087"/>
                  <a:pt x="3219780" y="5226604"/>
                </a:cubicBezTo>
                <a:cubicBezTo>
                  <a:pt x="3213219" y="5224845"/>
                  <a:pt x="3205781" y="5226368"/>
                  <a:pt x="3193538" y="5219573"/>
                </a:cubicBezTo>
                <a:cubicBezTo>
                  <a:pt x="3199219" y="5224609"/>
                  <a:pt x="3195061" y="5227011"/>
                  <a:pt x="3204023" y="5232929"/>
                </a:cubicBezTo>
                <a:cubicBezTo>
                  <a:pt x="3150016" y="5211425"/>
                  <a:pt x="3096009" y="5189924"/>
                  <a:pt x="3042882" y="5165139"/>
                </a:cubicBezTo>
                <a:cubicBezTo>
                  <a:pt x="3036320" y="5163382"/>
                  <a:pt x="3029761" y="5161624"/>
                  <a:pt x="3027359" y="5157464"/>
                </a:cubicBezTo>
                <a:cubicBezTo>
                  <a:pt x="2396387" y="4861828"/>
                  <a:pt x="1977317" y="4260841"/>
                  <a:pt x="1894782" y="3584788"/>
                </a:cubicBezTo>
                <a:cubicBezTo>
                  <a:pt x="1894782" y="3584788"/>
                  <a:pt x="1894782" y="3584788"/>
                  <a:pt x="1895662" y="3581506"/>
                </a:cubicBezTo>
                <a:cubicBezTo>
                  <a:pt x="1895662" y="3581506"/>
                  <a:pt x="1896540" y="3578226"/>
                  <a:pt x="1896540" y="3578226"/>
                </a:cubicBezTo>
                <a:cubicBezTo>
                  <a:pt x="1898061" y="3585666"/>
                  <a:pt x="1902221" y="3583265"/>
                  <a:pt x="1900698" y="3575825"/>
                </a:cubicBezTo>
                <a:cubicBezTo>
                  <a:pt x="1902221" y="3583265"/>
                  <a:pt x="1902221" y="3583265"/>
                  <a:pt x="1902221" y="3583265"/>
                </a:cubicBezTo>
                <a:cubicBezTo>
                  <a:pt x="1904622" y="3587425"/>
                  <a:pt x="1904622" y="3587425"/>
                  <a:pt x="1908782" y="3585022"/>
                </a:cubicBezTo>
                <a:cubicBezTo>
                  <a:pt x="1908782" y="3585022"/>
                  <a:pt x="1909661" y="3581742"/>
                  <a:pt x="1907259" y="3577584"/>
                </a:cubicBezTo>
                <a:cubicBezTo>
                  <a:pt x="1904858" y="3573425"/>
                  <a:pt x="1904858" y="3573425"/>
                  <a:pt x="1904858" y="3573425"/>
                </a:cubicBezTo>
                <a:cubicBezTo>
                  <a:pt x="1905737" y="3570143"/>
                  <a:pt x="1905737" y="3570143"/>
                  <a:pt x="1905737" y="3570143"/>
                </a:cubicBezTo>
                <a:cubicBezTo>
                  <a:pt x="1912298" y="3571902"/>
                  <a:pt x="1913176" y="3568620"/>
                  <a:pt x="1911655" y="3561181"/>
                </a:cubicBezTo>
                <a:cubicBezTo>
                  <a:pt x="1906851" y="3552863"/>
                  <a:pt x="1908374" y="3560303"/>
                  <a:pt x="1902693" y="3555264"/>
                </a:cubicBezTo>
                <a:cubicBezTo>
                  <a:pt x="1904214" y="3562704"/>
                  <a:pt x="1904214" y="3562704"/>
                  <a:pt x="1904214" y="3562704"/>
                </a:cubicBezTo>
                <a:cubicBezTo>
                  <a:pt x="1901813" y="3558544"/>
                  <a:pt x="1902693" y="3555264"/>
                  <a:pt x="1898533" y="3557666"/>
                </a:cubicBezTo>
                <a:cubicBezTo>
                  <a:pt x="1897653" y="3560947"/>
                  <a:pt x="1896775" y="3564227"/>
                  <a:pt x="1899176" y="3568386"/>
                </a:cubicBezTo>
                <a:cubicBezTo>
                  <a:pt x="1901577" y="3572544"/>
                  <a:pt x="1901577" y="3572544"/>
                  <a:pt x="1901577" y="3572544"/>
                </a:cubicBezTo>
                <a:cubicBezTo>
                  <a:pt x="1898298" y="3571666"/>
                  <a:pt x="1899176" y="3568386"/>
                  <a:pt x="1895896" y="3567506"/>
                </a:cubicBezTo>
                <a:cubicBezTo>
                  <a:pt x="1896775" y="3564227"/>
                  <a:pt x="1896775" y="3564227"/>
                  <a:pt x="1896775" y="3564227"/>
                </a:cubicBezTo>
                <a:cubicBezTo>
                  <a:pt x="1894373" y="3560067"/>
                  <a:pt x="1894373" y="3560067"/>
                  <a:pt x="1894373" y="3560067"/>
                </a:cubicBezTo>
                <a:cubicBezTo>
                  <a:pt x="1891094" y="3559188"/>
                  <a:pt x="1891094" y="3559188"/>
                  <a:pt x="1891094" y="3559188"/>
                </a:cubicBezTo>
                <a:cubicBezTo>
                  <a:pt x="1884597" y="3504711"/>
                  <a:pt x="1882259" y="3447831"/>
                  <a:pt x="1879920" y="3390951"/>
                </a:cubicBezTo>
                <a:cubicBezTo>
                  <a:pt x="1883200" y="3391830"/>
                  <a:pt x="1887359" y="3389429"/>
                  <a:pt x="1885837" y="3381989"/>
                </a:cubicBezTo>
                <a:cubicBezTo>
                  <a:pt x="1882557" y="3381111"/>
                  <a:pt x="1882557" y="3381111"/>
                  <a:pt x="1882557" y="3381111"/>
                </a:cubicBezTo>
                <a:cubicBezTo>
                  <a:pt x="1878180" y="3200631"/>
                  <a:pt x="1900280" y="3013184"/>
                  <a:pt x="1949501" y="2829488"/>
                </a:cubicBezTo>
                <a:cubicBezTo>
                  <a:pt x="2065523" y="2396490"/>
                  <a:pt x="2313805" y="2034089"/>
                  <a:pt x="2643562" y="1774383"/>
                </a:cubicBezTo>
                <a:cubicBezTo>
                  <a:pt x="2638523" y="1780064"/>
                  <a:pt x="2637645" y="1783344"/>
                  <a:pt x="2640925" y="1784224"/>
                </a:cubicBezTo>
                <a:cubicBezTo>
                  <a:pt x="2669161" y="1770694"/>
                  <a:pt x="2664357" y="1762376"/>
                  <a:pt x="2686913" y="1743809"/>
                </a:cubicBezTo>
                <a:cubicBezTo>
                  <a:pt x="2686913" y="1743809"/>
                  <a:pt x="2683632" y="1742931"/>
                  <a:pt x="2683632" y="1742931"/>
                </a:cubicBezTo>
                <a:cubicBezTo>
                  <a:pt x="2705305" y="1727642"/>
                  <a:pt x="2722823" y="1714756"/>
                  <a:pt x="2744497" y="1699471"/>
                </a:cubicBezTo>
                <a:cubicBezTo>
                  <a:pt x="2751936" y="1697948"/>
                  <a:pt x="2777770" y="1680260"/>
                  <a:pt x="2782809" y="1674577"/>
                </a:cubicBezTo>
                <a:cubicBezTo>
                  <a:pt x="2786090" y="1675456"/>
                  <a:pt x="2786969" y="1672176"/>
                  <a:pt x="2786969" y="1672176"/>
                </a:cubicBezTo>
                <a:cubicBezTo>
                  <a:pt x="2791128" y="1669775"/>
                  <a:pt x="2791128" y="1669775"/>
                  <a:pt x="2787847" y="1668896"/>
                </a:cubicBezTo>
                <a:cubicBezTo>
                  <a:pt x="2791128" y="1669775"/>
                  <a:pt x="2792007" y="1666495"/>
                  <a:pt x="2795287" y="1667374"/>
                </a:cubicBezTo>
                <a:cubicBezTo>
                  <a:pt x="2800324" y="1661693"/>
                  <a:pt x="2808643" y="1656889"/>
                  <a:pt x="2812803" y="1654488"/>
                </a:cubicBezTo>
                <a:cubicBezTo>
                  <a:pt x="2830319" y="1641602"/>
                  <a:pt x="2850235" y="1632876"/>
                  <a:pt x="2867751" y="1619990"/>
                </a:cubicBezTo>
                <a:cubicBezTo>
                  <a:pt x="2876070" y="1615187"/>
                  <a:pt x="2884388" y="1610385"/>
                  <a:pt x="2892707" y="1605583"/>
                </a:cubicBezTo>
                <a:cubicBezTo>
                  <a:pt x="2909345" y="1595977"/>
                  <a:pt x="2929260" y="1587250"/>
                  <a:pt x="2945898" y="1577646"/>
                </a:cubicBezTo>
                <a:cubicBezTo>
                  <a:pt x="2945898" y="1577646"/>
                  <a:pt x="2945019" y="1580925"/>
                  <a:pt x="2945019" y="1580925"/>
                </a:cubicBezTo>
                <a:cubicBezTo>
                  <a:pt x="2949179" y="1578524"/>
                  <a:pt x="2950057" y="1575243"/>
                  <a:pt x="2954215" y="1572842"/>
                </a:cubicBezTo>
                <a:cubicBezTo>
                  <a:pt x="3029843" y="1533338"/>
                  <a:pt x="3107651" y="1498813"/>
                  <a:pt x="3187642" y="1469266"/>
                </a:cubicBezTo>
                <a:lnTo>
                  <a:pt x="3206518" y="1462968"/>
                </a:lnTo>
                <a:lnTo>
                  <a:pt x="3279061" y="1433119"/>
                </a:lnTo>
                <a:lnTo>
                  <a:pt x="3268731" y="1435621"/>
                </a:lnTo>
                <a:lnTo>
                  <a:pt x="3291288" y="1428088"/>
                </a:lnTo>
                <a:lnTo>
                  <a:pt x="3299007" y="1424913"/>
                </a:lnTo>
                <a:close/>
                <a:moveTo>
                  <a:pt x="2502762" y="1367737"/>
                </a:moveTo>
                <a:cubicBezTo>
                  <a:pt x="2499088" y="1373406"/>
                  <a:pt x="2499088" y="1373406"/>
                  <a:pt x="2499088" y="1373406"/>
                </a:cubicBezTo>
                <a:cubicBezTo>
                  <a:pt x="2500087" y="1378077"/>
                  <a:pt x="2504758" y="1377078"/>
                  <a:pt x="2508432" y="1371410"/>
                </a:cubicBezTo>
                <a:cubicBezTo>
                  <a:pt x="2496914" y="1386080"/>
                  <a:pt x="2485814" y="1397000"/>
                  <a:pt x="2472589" y="1406541"/>
                </a:cubicBezTo>
                <a:lnTo>
                  <a:pt x="2428360" y="1430993"/>
                </a:lnTo>
                <a:lnTo>
                  <a:pt x="2427665" y="1427740"/>
                </a:lnTo>
                <a:cubicBezTo>
                  <a:pt x="2427665" y="1427740"/>
                  <a:pt x="2423991" y="1433409"/>
                  <a:pt x="2423991" y="1433409"/>
                </a:cubicBezTo>
                <a:cubicBezTo>
                  <a:pt x="2414650" y="1435405"/>
                  <a:pt x="2415648" y="1440075"/>
                  <a:pt x="2406305" y="1442071"/>
                </a:cubicBezTo>
                <a:cubicBezTo>
                  <a:pt x="2401635" y="1443068"/>
                  <a:pt x="2401635" y="1443068"/>
                  <a:pt x="2401635" y="1443068"/>
                </a:cubicBezTo>
                <a:cubicBezTo>
                  <a:pt x="2401635" y="1443068"/>
                  <a:pt x="2402632" y="1447739"/>
                  <a:pt x="2402632" y="1447739"/>
                </a:cubicBezTo>
                <a:cubicBezTo>
                  <a:pt x="2397962" y="1448738"/>
                  <a:pt x="2397962" y="1448738"/>
                  <a:pt x="2397962" y="1448738"/>
                </a:cubicBezTo>
                <a:lnTo>
                  <a:pt x="2368524" y="1462091"/>
                </a:lnTo>
                <a:lnTo>
                  <a:pt x="2436136" y="1405006"/>
                </a:lnTo>
                <a:lnTo>
                  <a:pt x="2447028" y="1404065"/>
                </a:lnTo>
                <a:cubicBezTo>
                  <a:pt x="2460542" y="1398736"/>
                  <a:pt x="2475395" y="1388235"/>
                  <a:pt x="2493419" y="1369732"/>
                </a:cubicBezTo>
                <a:cubicBezTo>
                  <a:pt x="2493419" y="1369732"/>
                  <a:pt x="2498091" y="1368735"/>
                  <a:pt x="2502762" y="1367737"/>
                </a:cubicBezTo>
                <a:close/>
                <a:moveTo>
                  <a:pt x="3694920" y="1351768"/>
                </a:moveTo>
                <a:lnTo>
                  <a:pt x="3592642" y="1364711"/>
                </a:lnTo>
                <a:lnTo>
                  <a:pt x="3590251" y="1366035"/>
                </a:lnTo>
                <a:lnTo>
                  <a:pt x="3570147" y="1371907"/>
                </a:lnTo>
                <a:lnTo>
                  <a:pt x="3581954" y="1369853"/>
                </a:lnTo>
                <a:lnTo>
                  <a:pt x="3656160" y="1363370"/>
                </a:lnTo>
                <a:close/>
                <a:moveTo>
                  <a:pt x="2840435" y="1256522"/>
                </a:moveTo>
                <a:cubicBezTo>
                  <a:pt x="2814405" y="1271852"/>
                  <a:pt x="2779032" y="1289177"/>
                  <a:pt x="2754000" y="1309177"/>
                </a:cubicBezTo>
                <a:cubicBezTo>
                  <a:pt x="2727471" y="1322172"/>
                  <a:pt x="2696248" y="1338915"/>
                  <a:pt x="2675675" y="1354070"/>
                </a:cubicBezTo>
                <a:lnTo>
                  <a:pt x="2664839" y="1363575"/>
                </a:lnTo>
                <a:lnTo>
                  <a:pt x="2606905" y="1394572"/>
                </a:lnTo>
                <a:lnTo>
                  <a:pt x="2606162" y="1394488"/>
                </a:lnTo>
                <a:lnTo>
                  <a:pt x="2606032" y="1395039"/>
                </a:lnTo>
                <a:lnTo>
                  <a:pt x="2569460" y="1414607"/>
                </a:lnTo>
                <a:lnTo>
                  <a:pt x="2535666" y="1437142"/>
                </a:lnTo>
                <a:lnTo>
                  <a:pt x="2557774" y="1419478"/>
                </a:lnTo>
                <a:cubicBezTo>
                  <a:pt x="2617181" y="1377482"/>
                  <a:pt x="2686928" y="1338159"/>
                  <a:pt x="2743660" y="1306503"/>
                </a:cubicBezTo>
                <a:cubicBezTo>
                  <a:pt x="2765019" y="1292171"/>
                  <a:pt x="2787377" y="1282510"/>
                  <a:pt x="2803068" y="1264505"/>
                </a:cubicBezTo>
                <a:cubicBezTo>
                  <a:pt x="2799394" y="1270174"/>
                  <a:pt x="2809734" y="1272849"/>
                  <a:pt x="2840435" y="1256522"/>
                </a:cubicBezTo>
                <a:close/>
                <a:moveTo>
                  <a:pt x="4291945" y="1253435"/>
                </a:moveTo>
                <a:cubicBezTo>
                  <a:pt x="4288620" y="1252908"/>
                  <a:pt x="4285780" y="1253972"/>
                  <a:pt x="4284137" y="1260101"/>
                </a:cubicBezTo>
                <a:cubicBezTo>
                  <a:pt x="4280853" y="1272360"/>
                  <a:pt x="4289390" y="1273187"/>
                  <a:pt x="4298921" y="1275741"/>
                </a:cubicBezTo>
                <a:cubicBezTo>
                  <a:pt x="4349411" y="1283430"/>
                  <a:pt x="4400898" y="1292848"/>
                  <a:pt x="4450293" y="1304623"/>
                </a:cubicBezTo>
                <a:cubicBezTo>
                  <a:pt x="4553327" y="1330041"/>
                  <a:pt x="4653016" y="1361132"/>
                  <a:pt x="4748991" y="1398504"/>
                </a:cubicBezTo>
                <a:lnTo>
                  <a:pt x="4900593" y="1470664"/>
                </a:lnTo>
                <a:lnTo>
                  <a:pt x="4850303" y="1427852"/>
                </a:lnTo>
                <a:lnTo>
                  <a:pt x="4826319" y="1412622"/>
                </a:lnTo>
                <a:lnTo>
                  <a:pt x="4657237" y="1344015"/>
                </a:lnTo>
                <a:cubicBezTo>
                  <a:pt x="4555286" y="1305020"/>
                  <a:pt x="4447497" y="1287816"/>
                  <a:pt x="4341169" y="1265164"/>
                </a:cubicBezTo>
                <a:cubicBezTo>
                  <a:pt x="4328547" y="1263242"/>
                  <a:pt x="4314927" y="1259592"/>
                  <a:pt x="4302669" y="1256309"/>
                </a:cubicBezTo>
                <a:cubicBezTo>
                  <a:pt x="4299082" y="1256077"/>
                  <a:pt x="4295271" y="1253960"/>
                  <a:pt x="4291945" y="1253435"/>
                </a:cubicBezTo>
                <a:close/>
                <a:moveTo>
                  <a:pt x="3498102" y="1245800"/>
                </a:moveTo>
                <a:lnTo>
                  <a:pt x="3459267" y="1255133"/>
                </a:lnTo>
                <a:lnTo>
                  <a:pt x="3459939" y="1258420"/>
                </a:lnTo>
                <a:close/>
                <a:moveTo>
                  <a:pt x="5350802" y="1233036"/>
                </a:moveTo>
                <a:cubicBezTo>
                  <a:pt x="5361142" y="1235710"/>
                  <a:pt x="5361142" y="1235710"/>
                  <a:pt x="5351799" y="1237706"/>
                </a:cubicBezTo>
                <a:cubicBezTo>
                  <a:pt x="5346131" y="1234033"/>
                  <a:pt x="5346131" y="1234033"/>
                  <a:pt x="5346131" y="1234033"/>
                </a:cubicBezTo>
                <a:cubicBezTo>
                  <a:pt x="5350802" y="1233036"/>
                  <a:pt x="5350802" y="1233036"/>
                  <a:pt x="5350802" y="1233036"/>
                </a:cubicBezTo>
                <a:close/>
                <a:moveTo>
                  <a:pt x="5345813" y="1209681"/>
                </a:moveTo>
                <a:cubicBezTo>
                  <a:pt x="5345813" y="1209681"/>
                  <a:pt x="5350483" y="1208682"/>
                  <a:pt x="5351481" y="1213353"/>
                </a:cubicBezTo>
                <a:cubicBezTo>
                  <a:pt x="5346810" y="1214352"/>
                  <a:pt x="5346810" y="1214352"/>
                  <a:pt x="5346810" y="1214352"/>
                </a:cubicBezTo>
                <a:cubicBezTo>
                  <a:pt x="5346810" y="1214352"/>
                  <a:pt x="5345813" y="1209681"/>
                  <a:pt x="5345813" y="1209681"/>
                </a:cubicBezTo>
                <a:close/>
                <a:moveTo>
                  <a:pt x="5343817" y="1200338"/>
                </a:moveTo>
                <a:cubicBezTo>
                  <a:pt x="5344814" y="1205008"/>
                  <a:pt x="5344814" y="1205008"/>
                  <a:pt x="5349485" y="1204011"/>
                </a:cubicBezTo>
                <a:lnTo>
                  <a:pt x="5339148" y="1201337"/>
                </a:lnTo>
                <a:close/>
                <a:moveTo>
                  <a:pt x="2761703" y="1151674"/>
                </a:moveTo>
                <a:lnTo>
                  <a:pt x="2748959" y="1165559"/>
                </a:lnTo>
                <a:cubicBezTo>
                  <a:pt x="2741657" y="1171392"/>
                  <a:pt x="2733065" y="1176892"/>
                  <a:pt x="2722385" y="1184058"/>
                </a:cubicBezTo>
                <a:cubicBezTo>
                  <a:pt x="2726058" y="1178388"/>
                  <a:pt x="2721386" y="1179387"/>
                  <a:pt x="2716716" y="1180384"/>
                </a:cubicBezTo>
                <a:cubicBezTo>
                  <a:pt x="2694359" y="1190045"/>
                  <a:pt x="2674994" y="1213720"/>
                  <a:pt x="2657309" y="1222382"/>
                </a:cubicBezTo>
                <a:cubicBezTo>
                  <a:pt x="2657309" y="1222382"/>
                  <a:pt x="2660982" y="1216713"/>
                  <a:pt x="2660982" y="1216713"/>
                </a:cubicBezTo>
                <a:cubicBezTo>
                  <a:pt x="2630281" y="1233040"/>
                  <a:pt x="2606247" y="1257713"/>
                  <a:pt x="2595906" y="1255037"/>
                </a:cubicBezTo>
                <a:cubicBezTo>
                  <a:pt x="2595906" y="1255037"/>
                  <a:pt x="2596903" y="1259709"/>
                  <a:pt x="2592233" y="1260706"/>
                </a:cubicBezTo>
                <a:cubicBezTo>
                  <a:pt x="2581214" y="1277713"/>
                  <a:pt x="2601576" y="1258710"/>
                  <a:pt x="2606247" y="1257713"/>
                </a:cubicBezTo>
                <a:cubicBezTo>
                  <a:pt x="2593730" y="1267712"/>
                  <a:pt x="2584887" y="1272043"/>
                  <a:pt x="2577796" y="1276001"/>
                </a:cubicBezTo>
                <a:lnTo>
                  <a:pt x="2560312" y="1291636"/>
                </a:lnTo>
                <a:lnTo>
                  <a:pt x="2559859" y="1291860"/>
                </a:lnTo>
                <a:lnTo>
                  <a:pt x="2560069" y="1281620"/>
                </a:lnTo>
                <a:cubicBezTo>
                  <a:pt x="2559696" y="1279869"/>
                  <a:pt x="2557360" y="1280367"/>
                  <a:pt x="2548516" y="1284699"/>
                </a:cubicBezTo>
                <a:cubicBezTo>
                  <a:pt x="2547179" y="1289869"/>
                  <a:pt x="2548846" y="1291955"/>
                  <a:pt x="2549928" y="1294165"/>
                </a:cubicBezTo>
                <a:lnTo>
                  <a:pt x="2549342" y="1297035"/>
                </a:lnTo>
                <a:lnTo>
                  <a:pt x="2541806" y="1300742"/>
                </a:lnTo>
                <a:cubicBezTo>
                  <a:pt x="2519258" y="1309996"/>
                  <a:pt x="2495601" y="1317332"/>
                  <a:pt x="2470077" y="1321264"/>
                </a:cubicBezTo>
                <a:cubicBezTo>
                  <a:pt x="2487552" y="1289140"/>
                  <a:pt x="2510692" y="1274055"/>
                  <a:pt x="2536602" y="1262438"/>
                </a:cubicBezTo>
                <a:cubicBezTo>
                  <a:pt x="2598121" y="1237126"/>
                  <a:pt x="2657282" y="1210292"/>
                  <a:pt x="2712436" y="1174174"/>
                </a:cubicBezTo>
                <a:cubicBezTo>
                  <a:pt x="2723037" y="1166839"/>
                  <a:pt x="2734149" y="1161297"/>
                  <a:pt x="2745575" y="1156796"/>
                </a:cubicBezTo>
                <a:close/>
                <a:moveTo>
                  <a:pt x="4763650" y="1149529"/>
                </a:moveTo>
                <a:lnTo>
                  <a:pt x="4771720" y="1151618"/>
                </a:lnTo>
                <a:cubicBezTo>
                  <a:pt x="4771720" y="1151618"/>
                  <a:pt x="4771720" y="1151618"/>
                  <a:pt x="4767049" y="1152615"/>
                </a:cubicBezTo>
                <a:close/>
                <a:moveTo>
                  <a:pt x="3314885" y="1145389"/>
                </a:moveTo>
                <a:cubicBezTo>
                  <a:pt x="3311211" y="1151058"/>
                  <a:pt x="3311211" y="1151058"/>
                  <a:pt x="3311211" y="1151058"/>
                </a:cubicBezTo>
                <a:cubicBezTo>
                  <a:pt x="3306541" y="1152057"/>
                  <a:pt x="3306541" y="1152057"/>
                  <a:pt x="3306541" y="1152057"/>
                </a:cubicBezTo>
                <a:cubicBezTo>
                  <a:pt x="3297198" y="1154051"/>
                  <a:pt x="3292528" y="1155049"/>
                  <a:pt x="3287857" y="1156047"/>
                </a:cubicBezTo>
                <a:cubicBezTo>
                  <a:pt x="3278514" y="1158043"/>
                  <a:pt x="3273843" y="1159041"/>
                  <a:pt x="3264500" y="1161037"/>
                </a:cubicBezTo>
                <a:lnTo>
                  <a:pt x="3259830" y="1162034"/>
                </a:lnTo>
                <a:close/>
                <a:moveTo>
                  <a:pt x="4063207" y="1058776"/>
                </a:moveTo>
                <a:lnTo>
                  <a:pt x="4059509" y="1058914"/>
                </a:lnTo>
                <a:lnTo>
                  <a:pt x="4059417" y="1058899"/>
                </a:lnTo>
                <a:cubicBezTo>
                  <a:pt x="4058579" y="1058545"/>
                  <a:pt x="4059454" y="1058357"/>
                  <a:pt x="4063207" y="1058776"/>
                </a:cubicBezTo>
                <a:close/>
                <a:moveTo>
                  <a:pt x="4081891" y="1054786"/>
                </a:moveTo>
                <a:cubicBezTo>
                  <a:pt x="4083887" y="1064127"/>
                  <a:pt x="4101574" y="1055465"/>
                  <a:pt x="4111912" y="1058138"/>
                </a:cubicBezTo>
                <a:cubicBezTo>
                  <a:pt x="4097900" y="1061133"/>
                  <a:pt x="4111233" y="1077821"/>
                  <a:pt x="4112910" y="1062810"/>
                </a:cubicBezTo>
                <a:cubicBezTo>
                  <a:pt x="4141935" y="1061494"/>
                  <a:pt x="4171956" y="1064849"/>
                  <a:pt x="4191639" y="1065528"/>
                </a:cubicBezTo>
                <a:cubicBezTo>
                  <a:pt x="4176627" y="1063850"/>
                  <a:pt x="4205653" y="1062533"/>
                  <a:pt x="4224337" y="1058542"/>
                </a:cubicBezTo>
                <a:cubicBezTo>
                  <a:pt x="4225335" y="1063212"/>
                  <a:pt x="4215991" y="1065208"/>
                  <a:pt x="4215991" y="1065208"/>
                </a:cubicBezTo>
                <a:cubicBezTo>
                  <a:pt x="4250685" y="1067565"/>
                  <a:pt x="4270368" y="1068244"/>
                  <a:pt x="4290049" y="1068923"/>
                </a:cubicBezTo>
                <a:cubicBezTo>
                  <a:pt x="4314402" y="1068605"/>
                  <a:pt x="4334085" y="1069284"/>
                  <a:pt x="4379117" y="1074315"/>
                </a:cubicBezTo>
                <a:cubicBezTo>
                  <a:pt x="4375445" y="1079983"/>
                  <a:pt x="4366101" y="1081981"/>
                  <a:pt x="4385785" y="1082660"/>
                </a:cubicBezTo>
                <a:cubicBezTo>
                  <a:pt x="4396125" y="1085335"/>
                  <a:pt x="4374447" y="1075314"/>
                  <a:pt x="4398799" y="1074995"/>
                </a:cubicBezTo>
                <a:cubicBezTo>
                  <a:pt x="4415807" y="1086013"/>
                  <a:pt x="4430817" y="1087691"/>
                  <a:pt x="4443833" y="1080026"/>
                </a:cubicBezTo>
                <a:cubicBezTo>
                  <a:pt x="4460841" y="1091045"/>
                  <a:pt x="4454173" y="1082701"/>
                  <a:pt x="4461839" y="1095716"/>
                </a:cubicBezTo>
                <a:cubicBezTo>
                  <a:pt x="4465511" y="1090048"/>
                  <a:pt x="4474853" y="1088052"/>
                  <a:pt x="4489863" y="1089728"/>
                </a:cubicBezTo>
                <a:cubicBezTo>
                  <a:pt x="4489863" y="1089728"/>
                  <a:pt x="4480522" y="1091724"/>
                  <a:pt x="4486191" y="1095398"/>
                </a:cubicBezTo>
                <a:cubicBezTo>
                  <a:pt x="4509546" y="1090407"/>
                  <a:pt x="4532222" y="1105100"/>
                  <a:pt x="4565917" y="1102785"/>
                </a:cubicBezTo>
                <a:cubicBezTo>
                  <a:pt x="4566915" y="1107457"/>
                  <a:pt x="4546235" y="1102107"/>
                  <a:pt x="4547233" y="1106777"/>
                </a:cubicBezTo>
                <a:cubicBezTo>
                  <a:pt x="4568911" y="1116797"/>
                  <a:pt x="4591269" y="1107139"/>
                  <a:pt x="4609273" y="1122827"/>
                </a:cubicBezTo>
                <a:cubicBezTo>
                  <a:pt x="4613943" y="1121829"/>
                  <a:pt x="4591269" y="1107139"/>
                  <a:pt x="4611947" y="1112488"/>
                </a:cubicBezTo>
                <a:cubicBezTo>
                  <a:pt x="4608275" y="1118157"/>
                  <a:pt x="4613943" y="1121829"/>
                  <a:pt x="4628956" y="1123507"/>
                </a:cubicBezTo>
                <a:cubicBezTo>
                  <a:pt x="4641971" y="1115841"/>
                  <a:pt x="4665645" y="1135205"/>
                  <a:pt x="4668320" y="1124867"/>
                </a:cubicBezTo>
                <a:cubicBezTo>
                  <a:pt x="4669317" y="1129537"/>
                  <a:pt x="4673989" y="1128538"/>
                  <a:pt x="4679657" y="1132212"/>
                </a:cubicBezTo>
                <a:cubicBezTo>
                  <a:pt x="4685326" y="1135884"/>
                  <a:pt x="4685326" y="1135884"/>
                  <a:pt x="4685326" y="1135884"/>
                </a:cubicBezTo>
                <a:cubicBezTo>
                  <a:pt x="4685326" y="1135884"/>
                  <a:pt x="4684329" y="1131215"/>
                  <a:pt x="4684329" y="1131215"/>
                </a:cubicBezTo>
                <a:cubicBezTo>
                  <a:pt x="4679657" y="1132212"/>
                  <a:pt x="4678659" y="1127541"/>
                  <a:pt x="4673989" y="1128538"/>
                </a:cubicBezTo>
                <a:cubicBezTo>
                  <a:pt x="4692673" y="1124547"/>
                  <a:pt x="4705007" y="1136564"/>
                  <a:pt x="4716346" y="1143910"/>
                </a:cubicBezTo>
                <a:cubicBezTo>
                  <a:pt x="4721019" y="1142913"/>
                  <a:pt x="4725689" y="1141914"/>
                  <a:pt x="4737026" y="1149261"/>
                </a:cubicBezTo>
                <a:cubicBezTo>
                  <a:pt x="4750041" y="1141596"/>
                  <a:pt x="4718024" y="1128899"/>
                  <a:pt x="4733035" y="1130577"/>
                </a:cubicBezTo>
                <a:cubicBezTo>
                  <a:pt x="4731029" y="1138331"/>
                  <a:pt x="4750041" y="1141596"/>
                  <a:pt x="4760516" y="1146683"/>
                </a:cubicBezTo>
                <a:lnTo>
                  <a:pt x="4763650" y="1149529"/>
                </a:lnTo>
                <a:lnTo>
                  <a:pt x="4761379" y="1148942"/>
                </a:lnTo>
                <a:cubicBezTo>
                  <a:pt x="4756709" y="1149940"/>
                  <a:pt x="4752037" y="1150938"/>
                  <a:pt x="4752037" y="1150938"/>
                </a:cubicBezTo>
                <a:cubicBezTo>
                  <a:pt x="4752037" y="1150938"/>
                  <a:pt x="4752037" y="1150938"/>
                  <a:pt x="4757706" y="1154611"/>
                </a:cubicBezTo>
                <a:cubicBezTo>
                  <a:pt x="4763375" y="1158284"/>
                  <a:pt x="4768046" y="1157286"/>
                  <a:pt x="4772717" y="1156287"/>
                </a:cubicBezTo>
                <a:cubicBezTo>
                  <a:pt x="4769043" y="1161957"/>
                  <a:pt x="4817750" y="1161320"/>
                  <a:pt x="4799066" y="1165310"/>
                </a:cubicBezTo>
                <a:cubicBezTo>
                  <a:pt x="4824417" y="1169663"/>
                  <a:pt x="4846096" y="1179685"/>
                  <a:pt x="4881786" y="1186712"/>
                </a:cubicBezTo>
                <a:cubicBezTo>
                  <a:pt x="4881786" y="1186712"/>
                  <a:pt x="4881786" y="1186712"/>
                  <a:pt x="4886457" y="1185713"/>
                </a:cubicBezTo>
                <a:cubicBezTo>
                  <a:pt x="4881786" y="1186712"/>
                  <a:pt x="4877116" y="1187711"/>
                  <a:pt x="4878113" y="1192381"/>
                </a:cubicBezTo>
                <a:cubicBezTo>
                  <a:pt x="4878113" y="1192381"/>
                  <a:pt x="4878113" y="1192381"/>
                  <a:pt x="4883782" y="1196053"/>
                </a:cubicBezTo>
                <a:cubicBezTo>
                  <a:pt x="4888453" y="1195056"/>
                  <a:pt x="4887456" y="1190385"/>
                  <a:pt x="4887456" y="1190385"/>
                </a:cubicBezTo>
                <a:cubicBezTo>
                  <a:pt x="4903465" y="1196734"/>
                  <a:pt x="4928816" y="1201086"/>
                  <a:pt x="4920471" y="1207753"/>
                </a:cubicBezTo>
                <a:cubicBezTo>
                  <a:pt x="4941151" y="1213102"/>
                  <a:pt x="4941151" y="1213102"/>
                  <a:pt x="4968499" y="1226796"/>
                </a:cubicBezTo>
                <a:cubicBezTo>
                  <a:pt x="4973169" y="1225799"/>
                  <a:pt x="4972171" y="1221128"/>
                  <a:pt x="4972171" y="1221128"/>
                </a:cubicBezTo>
                <a:cubicBezTo>
                  <a:pt x="4977839" y="1224802"/>
                  <a:pt x="4983509" y="1228474"/>
                  <a:pt x="4988181" y="1227477"/>
                </a:cubicBezTo>
                <a:cubicBezTo>
                  <a:pt x="5000517" y="1239493"/>
                  <a:pt x="5001514" y="1244166"/>
                  <a:pt x="4996843" y="1245163"/>
                </a:cubicBezTo>
                <a:cubicBezTo>
                  <a:pt x="5011854" y="1246838"/>
                  <a:pt x="5016525" y="1245841"/>
                  <a:pt x="5025867" y="1243845"/>
                </a:cubicBezTo>
                <a:cubicBezTo>
                  <a:pt x="5025867" y="1243845"/>
                  <a:pt x="5025867" y="1243845"/>
                  <a:pt x="5026865" y="1248516"/>
                </a:cubicBezTo>
                <a:cubicBezTo>
                  <a:pt x="5032534" y="1252190"/>
                  <a:pt x="5028861" y="1257857"/>
                  <a:pt x="5039201" y="1260533"/>
                </a:cubicBezTo>
                <a:cubicBezTo>
                  <a:pt x="5043871" y="1259535"/>
                  <a:pt x="5042874" y="1254865"/>
                  <a:pt x="5054211" y="1262212"/>
                </a:cubicBezTo>
                <a:cubicBezTo>
                  <a:pt x="5058883" y="1261213"/>
                  <a:pt x="5059881" y="1265883"/>
                  <a:pt x="5059881" y="1265883"/>
                </a:cubicBezTo>
                <a:cubicBezTo>
                  <a:pt x="5059881" y="1265883"/>
                  <a:pt x="5059881" y="1265883"/>
                  <a:pt x="5060879" y="1270554"/>
                </a:cubicBezTo>
                <a:cubicBezTo>
                  <a:pt x="5065550" y="1269557"/>
                  <a:pt x="5065550" y="1269557"/>
                  <a:pt x="5065550" y="1269557"/>
                </a:cubicBezTo>
                <a:cubicBezTo>
                  <a:pt x="5064551" y="1264886"/>
                  <a:pt x="5064551" y="1264886"/>
                  <a:pt x="5063554" y="1260214"/>
                </a:cubicBezTo>
                <a:cubicBezTo>
                  <a:pt x="5063554" y="1260214"/>
                  <a:pt x="5079564" y="1266562"/>
                  <a:pt x="5085233" y="1270236"/>
                </a:cubicBezTo>
                <a:cubicBezTo>
                  <a:pt x="5085233" y="1270236"/>
                  <a:pt x="5089903" y="1269239"/>
                  <a:pt x="5089903" y="1269239"/>
                </a:cubicBezTo>
                <a:cubicBezTo>
                  <a:pt x="5091899" y="1278580"/>
                  <a:pt x="5081559" y="1275906"/>
                  <a:pt x="5092897" y="1283251"/>
                </a:cubicBezTo>
                <a:cubicBezTo>
                  <a:pt x="5091899" y="1278580"/>
                  <a:pt x="5128587" y="1290278"/>
                  <a:pt x="5135255" y="1298622"/>
                </a:cubicBezTo>
                <a:cubicBezTo>
                  <a:pt x="5140923" y="1302296"/>
                  <a:pt x="5140923" y="1302296"/>
                  <a:pt x="5140923" y="1302296"/>
                </a:cubicBezTo>
                <a:cubicBezTo>
                  <a:pt x="5136253" y="1303293"/>
                  <a:pt x="5136253" y="1303293"/>
                  <a:pt x="5136253" y="1303293"/>
                </a:cubicBezTo>
                <a:cubicBezTo>
                  <a:pt x="5135255" y="1298622"/>
                  <a:pt x="5130583" y="1299621"/>
                  <a:pt x="5125914" y="1300618"/>
                </a:cubicBezTo>
                <a:cubicBezTo>
                  <a:pt x="5126911" y="1305290"/>
                  <a:pt x="5126911" y="1305290"/>
                  <a:pt x="5126911" y="1305290"/>
                </a:cubicBezTo>
                <a:cubicBezTo>
                  <a:pt x="5136253" y="1303293"/>
                  <a:pt x="5137251" y="1307965"/>
                  <a:pt x="5141923" y="1306967"/>
                </a:cubicBezTo>
                <a:cubicBezTo>
                  <a:pt x="5161603" y="1307645"/>
                  <a:pt x="5162603" y="1312318"/>
                  <a:pt x="5185279" y="1327010"/>
                </a:cubicBezTo>
                <a:cubicBezTo>
                  <a:pt x="5185279" y="1327010"/>
                  <a:pt x="5189949" y="1326012"/>
                  <a:pt x="5188951" y="1321339"/>
                </a:cubicBezTo>
                <a:cubicBezTo>
                  <a:pt x="5194619" y="1325013"/>
                  <a:pt x="5200289" y="1328686"/>
                  <a:pt x="5201287" y="1333357"/>
                </a:cubicBezTo>
                <a:cubicBezTo>
                  <a:pt x="5206956" y="1337031"/>
                  <a:pt x="5212625" y="1340704"/>
                  <a:pt x="5212625" y="1340704"/>
                </a:cubicBezTo>
                <a:cubicBezTo>
                  <a:pt x="5223963" y="1348049"/>
                  <a:pt x="5228635" y="1347052"/>
                  <a:pt x="5234302" y="1350726"/>
                </a:cubicBezTo>
                <a:cubicBezTo>
                  <a:pt x="5244643" y="1353399"/>
                  <a:pt x="5255981" y="1360746"/>
                  <a:pt x="5261651" y="1364420"/>
                </a:cubicBezTo>
                <a:cubicBezTo>
                  <a:pt x="5262648" y="1369090"/>
                  <a:pt x="5262648" y="1369090"/>
                  <a:pt x="5263645" y="1373761"/>
                </a:cubicBezTo>
                <a:cubicBezTo>
                  <a:pt x="5268317" y="1372762"/>
                  <a:pt x="5269315" y="1377435"/>
                  <a:pt x="5269315" y="1377435"/>
                </a:cubicBezTo>
                <a:cubicBezTo>
                  <a:pt x="5273985" y="1376438"/>
                  <a:pt x="5274984" y="1381108"/>
                  <a:pt x="5279654" y="1380109"/>
                </a:cubicBezTo>
                <a:cubicBezTo>
                  <a:pt x="5279654" y="1380109"/>
                  <a:pt x="5284325" y="1379110"/>
                  <a:pt x="5284325" y="1379110"/>
                </a:cubicBezTo>
                <a:cubicBezTo>
                  <a:pt x="5289994" y="1382784"/>
                  <a:pt x="5301333" y="1390131"/>
                  <a:pt x="5307001" y="1393803"/>
                </a:cubicBezTo>
                <a:cubicBezTo>
                  <a:pt x="5307001" y="1393803"/>
                  <a:pt x="5307001" y="1393803"/>
                  <a:pt x="5311671" y="1392806"/>
                </a:cubicBezTo>
                <a:cubicBezTo>
                  <a:pt x="5329677" y="1408496"/>
                  <a:pt x="5352353" y="1423188"/>
                  <a:pt x="5374031" y="1433210"/>
                </a:cubicBezTo>
                <a:cubicBezTo>
                  <a:pt x="5375029" y="1437880"/>
                  <a:pt x="5375029" y="1437880"/>
                  <a:pt x="5375029" y="1437880"/>
                </a:cubicBezTo>
                <a:cubicBezTo>
                  <a:pt x="5375029" y="1437880"/>
                  <a:pt x="5379701" y="1436882"/>
                  <a:pt x="5379701" y="1436882"/>
                </a:cubicBezTo>
                <a:cubicBezTo>
                  <a:pt x="5420381" y="1467264"/>
                  <a:pt x="5461061" y="1497648"/>
                  <a:pt x="5497073" y="1529027"/>
                </a:cubicBezTo>
                <a:cubicBezTo>
                  <a:pt x="5515075" y="1544718"/>
                  <a:pt x="5555757" y="1575100"/>
                  <a:pt x="5580429" y="1599135"/>
                </a:cubicBezTo>
                <a:cubicBezTo>
                  <a:pt x="5591766" y="1606481"/>
                  <a:pt x="5594761" y="1620493"/>
                  <a:pt x="5606099" y="1627840"/>
                </a:cubicBezTo>
                <a:cubicBezTo>
                  <a:pt x="5649774" y="1672234"/>
                  <a:pt x="5711133" y="1707968"/>
                  <a:pt x="5746464" y="1759030"/>
                </a:cubicBezTo>
                <a:cubicBezTo>
                  <a:pt x="5752134" y="1762703"/>
                  <a:pt x="5753131" y="1767373"/>
                  <a:pt x="5757803" y="1766375"/>
                </a:cubicBezTo>
                <a:cubicBezTo>
                  <a:pt x="5754129" y="1772044"/>
                  <a:pt x="5758800" y="1771047"/>
                  <a:pt x="5758800" y="1771047"/>
                </a:cubicBezTo>
                <a:cubicBezTo>
                  <a:pt x="5775807" y="1782066"/>
                  <a:pt x="5788142" y="1794084"/>
                  <a:pt x="5801477" y="1810771"/>
                </a:cubicBezTo>
                <a:cubicBezTo>
                  <a:pt x="5801477" y="1810771"/>
                  <a:pt x="5802475" y="1815443"/>
                  <a:pt x="5807146" y="1814445"/>
                </a:cubicBezTo>
                <a:cubicBezTo>
                  <a:pt x="5808143" y="1819115"/>
                  <a:pt x="5808143" y="1819115"/>
                  <a:pt x="5812815" y="1818118"/>
                </a:cubicBezTo>
                <a:cubicBezTo>
                  <a:pt x="5826149" y="1834806"/>
                  <a:pt x="5845151" y="1855167"/>
                  <a:pt x="5863156" y="1870858"/>
                </a:cubicBezTo>
                <a:cubicBezTo>
                  <a:pt x="5862157" y="1866187"/>
                  <a:pt x="5855491" y="1857843"/>
                  <a:pt x="5854493" y="1853171"/>
                </a:cubicBezTo>
                <a:cubicBezTo>
                  <a:pt x="5854493" y="1853171"/>
                  <a:pt x="5859165" y="1852174"/>
                  <a:pt x="5860163" y="1856844"/>
                </a:cubicBezTo>
                <a:cubicBezTo>
                  <a:pt x="5860163" y="1856844"/>
                  <a:pt x="5860163" y="1856844"/>
                  <a:pt x="5861160" y="1861515"/>
                </a:cubicBezTo>
                <a:cubicBezTo>
                  <a:pt x="5861160" y="1861515"/>
                  <a:pt x="5865831" y="1860516"/>
                  <a:pt x="5865831" y="1860516"/>
                </a:cubicBezTo>
                <a:cubicBezTo>
                  <a:pt x="5870503" y="1859519"/>
                  <a:pt x="5870503" y="1859519"/>
                  <a:pt x="5870503" y="1859519"/>
                </a:cubicBezTo>
                <a:cubicBezTo>
                  <a:pt x="5871500" y="1864190"/>
                  <a:pt x="5876171" y="1863192"/>
                  <a:pt x="5876171" y="1863192"/>
                </a:cubicBezTo>
                <a:cubicBezTo>
                  <a:pt x="5882839" y="1871536"/>
                  <a:pt x="5888507" y="1875210"/>
                  <a:pt x="5901841" y="1891897"/>
                </a:cubicBezTo>
                <a:cubicBezTo>
                  <a:pt x="5900842" y="1887226"/>
                  <a:pt x="5900842" y="1887226"/>
                  <a:pt x="5900842" y="1887226"/>
                </a:cubicBezTo>
                <a:cubicBezTo>
                  <a:pt x="5906513" y="1890900"/>
                  <a:pt x="5906513" y="1890900"/>
                  <a:pt x="5906513" y="1890900"/>
                </a:cubicBezTo>
                <a:cubicBezTo>
                  <a:pt x="5913179" y="1899244"/>
                  <a:pt x="5913179" y="1899244"/>
                  <a:pt x="5913179" y="1899244"/>
                </a:cubicBezTo>
                <a:cubicBezTo>
                  <a:pt x="5907509" y="1895570"/>
                  <a:pt x="5901841" y="1891897"/>
                  <a:pt x="5897169" y="1892896"/>
                </a:cubicBezTo>
                <a:cubicBezTo>
                  <a:pt x="5902839" y="1896569"/>
                  <a:pt x="5903837" y="1901240"/>
                  <a:pt x="5904836" y="1905910"/>
                </a:cubicBezTo>
                <a:cubicBezTo>
                  <a:pt x="5904836" y="1905910"/>
                  <a:pt x="5900163" y="1906909"/>
                  <a:pt x="5900163" y="1906909"/>
                </a:cubicBezTo>
                <a:cubicBezTo>
                  <a:pt x="5900163" y="1906909"/>
                  <a:pt x="5901161" y="1911580"/>
                  <a:pt x="5901161" y="1911580"/>
                </a:cubicBezTo>
                <a:cubicBezTo>
                  <a:pt x="5906831" y="1915253"/>
                  <a:pt x="5907828" y="1919924"/>
                  <a:pt x="5911502" y="1914255"/>
                </a:cubicBezTo>
                <a:cubicBezTo>
                  <a:pt x="5914495" y="1928268"/>
                  <a:pt x="5920164" y="1931940"/>
                  <a:pt x="5925833" y="1935614"/>
                </a:cubicBezTo>
                <a:cubicBezTo>
                  <a:pt x="5922160" y="1941283"/>
                  <a:pt x="5922160" y="1941283"/>
                  <a:pt x="5922160" y="1941283"/>
                </a:cubicBezTo>
                <a:cubicBezTo>
                  <a:pt x="5929825" y="1954298"/>
                  <a:pt x="5936493" y="1962642"/>
                  <a:pt x="5943160" y="1970986"/>
                </a:cubicBezTo>
                <a:cubicBezTo>
                  <a:pt x="5947829" y="1969987"/>
                  <a:pt x="5948829" y="1974660"/>
                  <a:pt x="5948829" y="1974660"/>
                </a:cubicBezTo>
                <a:cubicBezTo>
                  <a:pt x="5953499" y="1973661"/>
                  <a:pt x="5954497" y="1978332"/>
                  <a:pt x="5955496" y="1983002"/>
                </a:cubicBezTo>
                <a:cubicBezTo>
                  <a:pt x="5956493" y="1987674"/>
                  <a:pt x="5962162" y="1991348"/>
                  <a:pt x="5965836" y="1985679"/>
                </a:cubicBezTo>
                <a:cubicBezTo>
                  <a:pt x="5966833" y="1990349"/>
                  <a:pt x="5966833" y="1990349"/>
                  <a:pt x="5966833" y="1990349"/>
                </a:cubicBezTo>
                <a:cubicBezTo>
                  <a:pt x="5967831" y="1995019"/>
                  <a:pt x="5967831" y="1995019"/>
                  <a:pt x="5963161" y="1996018"/>
                </a:cubicBezTo>
                <a:cubicBezTo>
                  <a:pt x="5963161" y="1996018"/>
                  <a:pt x="5964158" y="2000689"/>
                  <a:pt x="5964158" y="2000689"/>
                </a:cubicBezTo>
                <a:cubicBezTo>
                  <a:pt x="5964158" y="2000689"/>
                  <a:pt x="5969828" y="2004363"/>
                  <a:pt x="5969828" y="2004363"/>
                </a:cubicBezTo>
                <a:cubicBezTo>
                  <a:pt x="5968829" y="1999692"/>
                  <a:pt x="5973499" y="1998694"/>
                  <a:pt x="5973499" y="1998694"/>
                </a:cubicBezTo>
                <a:cubicBezTo>
                  <a:pt x="5972502" y="1994021"/>
                  <a:pt x="5972502" y="1994021"/>
                  <a:pt x="5972502" y="1994021"/>
                </a:cubicBezTo>
                <a:cubicBezTo>
                  <a:pt x="5972502" y="1994021"/>
                  <a:pt x="5972502" y="1994021"/>
                  <a:pt x="5971505" y="1989352"/>
                </a:cubicBezTo>
                <a:cubicBezTo>
                  <a:pt x="5976176" y="1988354"/>
                  <a:pt x="5976176" y="1988354"/>
                  <a:pt x="5975177" y="1983681"/>
                </a:cubicBezTo>
                <a:cubicBezTo>
                  <a:pt x="5975177" y="1983681"/>
                  <a:pt x="5975177" y="1983681"/>
                  <a:pt x="5979849" y="1982684"/>
                </a:cubicBezTo>
                <a:cubicBezTo>
                  <a:pt x="5980846" y="1987355"/>
                  <a:pt x="5980846" y="1987355"/>
                  <a:pt x="5986515" y="1991028"/>
                </a:cubicBezTo>
                <a:cubicBezTo>
                  <a:pt x="5986515" y="1991028"/>
                  <a:pt x="5986515" y="1991028"/>
                  <a:pt x="5987513" y="1995699"/>
                </a:cubicBezTo>
                <a:cubicBezTo>
                  <a:pt x="5987513" y="1995699"/>
                  <a:pt x="5987513" y="1995699"/>
                  <a:pt x="5983841" y="2001368"/>
                </a:cubicBezTo>
                <a:cubicBezTo>
                  <a:pt x="5984838" y="2006039"/>
                  <a:pt x="5990507" y="2009712"/>
                  <a:pt x="5991504" y="2014383"/>
                </a:cubicBezTo>
                <a:cubicBezTo>
                  <a:pt x="5992501" y="2019056"/>
                  <a:pt x="5992501" y="2019056"/>
                  <a:pt x="5997174" y="2018057"/>
                </a:cubicBezTo>
                <a:lnTo>
                  <a:pt x="5996177" y="2013386"/>
                </a:lnTo>
                <a:cubicBezTo>
                  <a:pt x="5996177" y="2013386"/>
                  <a:pt x="5990507" y="2009712"/>
                  <a:pt x="5989508" y="2005041"/>
                </a:cubicBezTo>
                <a:cubicBezTo>
                  <a:pt x="5989508" y="2005041"/>
                  <a:pt x="5993182" y="1999373"/>
                  <a:pt x="5993182" y="1999373"/>
                </a:cubicBezTo>
                <a:cubicBezTo>
                  <a:pt x="5994181" y="2004043"/>
                  <a:pt x="5999848" y="2007716"/>
                  <a:pt x="5999848" y="2007716"/>
                </a:cubicBezTo>
                <a:cubicBezTo>
                  <a:pt x="6008513" y="2025402"/>
                  <a:pt x="6016176" y="2038418"/>
                  <a:pt x="6017173" y="2043089"/>
                </a:cubicBezTo>
                <a:cubicBezTo>
                  <a:pt x="6017173" y="2043089"/>
                  <a:pt x="6012503" y="2044088"/>
                  <a:pt x="6013501" y="2048758"/>
                </a:cubicBezTo>
                <a:cubicBezTo>
                  <a:pt x="6013501" y="2048758"/>
                  <a:pt x="6007833" y="2045085"/>
                  <a:pt x="6002163" y="2041411"/>
                </a:cubicBezTo>
                <a:cubicBezTo>
                  <a:pt x="6012822" y="2068440"/>
                  <a:pt x="6024159" y="2075787"/>
                  <a:pt x="6039490" y="2101816"/>
                </a:cubicBezTo>
                <a:cubicBezTo>
                  <a:pt x="6042164" y="2091476"/>
                  <a:pt x="6058493" y="2122176"/>
                  <a:pt x="6064163" y="2125850"/>
                </a:cubicBezTo>
                <a:cubicBezTo>
                  <a:pt x="6068833" y="2124853"/>
                  <a:pt x="6068833" y="2124853"/>
                  <a:pt x="6068833" y="2124853"/>
                </a:cubicBezTo>
                <a:cubicBezTo>
                  <a:pt x="6069829" y="2129524"/>
                  <a:pt x="6075499" y="2133197"/>
                  <a:pt x="6076497" y="2137868"/>
                </a:cubicBezTo>
                <a:cubicBezTo>
                  <a:pt x="6080171" y="2132198"/>
                  <a:pt x="6080171" y="2132198"/>
                  <a:pt x="6080171" y="2132198"/>
                </a:cubicBezTo>
                <a:cubicBezTo>
                  <a:pt x="6080171" y="2132198"/>
                  <a:pt x="6081170" y="2136869"/>
                  <a:pt x="6081170" y="2136869"/>
                </a:cubicBezTo>
                <a:cubicBezTo>
                  <a:pt x="6087836" y="2145213"/>
                  <a:pt x="6088835" y="2149885"/>
                  <a:pt x="6095499" y="2158228"/>
                </a:cubicBezTo>
                <a:cubicBezTo>
                  <a:pt x="6101169" y="2161901"/>
                  <a:pt x="6102167" y="2166572"/>
                  <a:pt x="6108834" y="2174916"/>
                </a:cubicBezTo>
                <a:cubicBezTo>
                  <a:pt x="6105160" y="2180586"/>
                  <a:pt x="6117496" y="2192603"/>
                  <a:pt x="6118495" y="2197274"/>
                </a:cubicBezTo>
                <a:cubicBezTo>
                  <a:pt x="6128835" y="2199948"/>
                  <a:pt x="6128835" y="2199948"/>
                  <a:pt x="6133507" y="2198951"/>
                </a:cubicBezTo>
                <a:cubicBezTo>
                  <a:pt x="6134505" y="2203622"/>
                  <a:pt x="6135503" y="2208293"/>
                  <a:pt x="6135503" y="2208293"/>
                </a:cubicBezTo>
                <a:cubicBezTo>
                  <a:pt x="6130831" y="2209292"/>
                  <a:pt x="6129833" y="2204621"/>
                  <a:pt x="6130831" y="2209292"/>
                </a:cubicBezTo>
                <a:cubicBezTo>
                  <a:pt x="6130831" y="2209292"/>
                  <a:pt x="6130831" y="2209292"/>
                  <a:pt x="6131829" y="2213962"/>
                </a:cubicBezTo>
                <a:cubicBezTo>
                  <a:pt x="6132827" y="2218633"/>
                  <a:pt x="6132827" y="2218633"/>
                  <a:pt x="6132827" y="2218633"/>
                </a:cubicBezTo>
                <a:cubicBezTo>
                  <a:pt x="6132827" y="2218633"/>
                  <a:pt x="6129153" y="2224302"/>
                  <a:pt x="6124482" y="2225300"/>
                </a:cubicBezTo>
                <a:cubicBezTo>
                  <a:pt x="6145800" y="2279356"/>
                  <a:pt x="6185123" y="2349102"/>
                  <a:pt x="6219136" y="2371140"/>
                </a:cubicBezTo>
                <a:cubicBezTo>
                  <a:pt x="6217458" y="2386151"/>
                  <a:pt x="6223127" y="2389824"/>
                  <a:pt x="6233467" y="2392499"/>
                </a:cubicBezTo>
                <a:cubicBezTo>
                  <a:pt x="6235463" y="2401842"/>
                  <a:pt x="6237459" y="2411185"/>
                  <a:pt x="6244127" y="2419528"/>
                </a:cubicBezTo>
                <a:cubicBezTo>
                  <a:pt x="6250794" y="2427871"/>
                  <a:pt x="6253787" y="2441885"/>
                  <a:pt x="6260453" y="2450229"/>
                </a:cubicBezTo>
                <a:cubicBezTo>
                  <a:pt x="6268118" y="2463244"/>
                  <a:pt x="6272110" y="2481928"/>
                  <a:pt x="6279775" y="2494943"/>
                </a:cubicBezTo>
                <a:cubicBezTo>
                  <a:pt x="6281771" y="2504286"/>
                  <a:pt x="6289436" y="2517300"/>
                  <a:pt x="6295105" y="2520973"/>
                </a:cubicBezTo>
                <a:cubicBezTo>
                  <a:pt x="6296102" y="2525645"/>
                  <a:pt x="6296102" y="2525645"/>
                  <a:pt x="6296102" y="2525645"/>
                </a:cubicBezTo>
                <a:cubicBezTo>
                  <a:pt x="6303768" y="2538660"/>
                  <a:pt x="6305764" y="2548001"/>
                  <a:pt x="6313429" y="2561017"/>
                </a:cubicBezTo>
                <a:cubicBezTo>
                  <a:pt x="6315423" y="2570357"/>
                  <a:pt x="6322091" y="2578701"/>
                  <a:pt x="6329756" y="2591718"/>
                </a:cubicBezTo>
                <a:cubicBezTo>
                  <a:pt x="6328079" y="2606728"/>
                  <a:pt x="6332749" y="2605731"/>
                  <a:pt x="6337421" y="2604732"/>
                </a:cubicBezTo>
                <a:cubicBezTo>
                  <a:pt x="6338419" y="2609405"/>
                  <a:pt x="6338419" y="2609405"/>
                  <a:pt x="6338419" y="2609405"/>
                </a:cubicBezTo>
                <a:cubicBezTo>
                  <a:pt x="6339417" y="2614074"/>
                  <a:pt x="6335743" y="2619745"/>
                  <a:pt x="6336741" y="2624414"/>
                </a:cubicBezTo>
                <a:cubicBezTo>
                  <a:pt x="6336741" y="2624414"/>
                  <a:pt x="6337739" y="2629085"/>
                  <a:pt x="6337739" y="2629085"/>
                </a:cubicBezTo>
                <a:cubicBezTo>
                  <a:pt x="6338737" y="2633756"/>
                  <a:pt x="6338737" y="2633756"/>
                  <a:pt x="6344407" y="2637430"/>
                </a:cubicBezTo>
                <a:cubicBezTo>
                  <a:pt x="6344407" y="2637430"/>
                  <a:pt x="6344407" y="2637430"/>
                  <a:pt x="6349077" y="2636431"/>
                </a:cubicBezTo>
                <a:cubicBezTo>
                  <a:pt x="6354067" y="2659786"/>
                  <a:pt x="6354067" y="2659786"/>
                  <a:pt x="6354067" y="2659786"/>
                </a:cubicBezTo>
                <a:cubicBezTo>
                  <a:pt x="6354067" y="2659786"/>
                  <a:pt x="6359736" y="2663460"/>
                  <a:pt x="6359736" y="2663460"/>
                </a:cubicBezTo>
                <a:cubicBezTo>
                  <a:pt x="6359736" y="2663460"/>
                  <a:pt x="6358737" y="2658789"/>
                  <a:pt x="6358737" y="2658789"/>
                </a:cubicBezTo>
                <a:cubicBezTo>
                  <a:pt x="6349077" y="2636431"/>
                  <a:pt x="6349077" y="2636431"/>
                  <a:pt x="6349077" y="2636431"/>
                </a:cubicBezTo>
                <a:cubicBezTo>
                  <a:pt x="6349077" y="2636431"/>
                  <a:pt x="6353747" y="2635434"/>
                  <a:pt x="6353747" y="2635434"/>
                </a:cubicBezTo>
                <a:cubicBezTo>
                  <a:pt x="6354747" y="2640106"/>
                  <a:pt x="6355743" y="2644776"/>
                  <a:pt x="6355743" y="2644776"/>
                </a:cubicBezTo>
                <a:cubicBezTo>
                  <a:pt x="6356743" y="2649446"/>
                  <a:pt x="6356743" y="2649446"/>
                  <a:pt x="6356743" y="2649446"/>
                </a:cubicBezTo>
                <a:cubicBezTo>
                  <a:pt x="6357740" y="2654118"/>
                  <a:pt x="6363410" y="2657790"/>
                  <a:pt x="6364407" y="2662461"/>
                </a:cubicBezTo>
                <a:cubicBezTo>
                  <a:pt x="6365405" y="2667133"/>
                  <a:pt x="6366403" y="2671804"/>
                  <a:pt x="6368398" y="2681145"/>
                </a:cubicBezTo>
                <a:cubicBezTo>
                  <a:pt x="6367401" y="2676475"/>
                  <a:pt x="6362729" y="2677473"/>
                  <a:pt x="6362729" y="2677473"/>
                </a:cubicBezTo>
                <a:cubicBezTo>
                  <a:pt x="6362729" y="2677473"/>
                  <a:pt x="6363728" y="2682144"/>
                  <a:pt x="6364725" y="2686814"/>
                </a:cubicBezTo>
                <a:cubicBezTo>
                  <a:pt x="6364725" y="2686814"/>
                  <a:pt x="6365723" y="2691487"/>
                  <a:pt x="6366721" y="2696158"/>
                </a:cubicBezTo>
                <a:cubicBezTo>
                  <a:pt x="6372391" y="2699831"/>
                  <a:pt x="6373387" y="2704500"/>
                  <a:pt x="6374387" y="2709173"/>
                </a:cubicBezTo>
                <a:cubicBezTo>
                  <a:pt x="6375383" y="2713843"/>
                  <a:pt x="6375383" y="2713843"/>
                  <a:pt x="6376383" y="2718513"/>
                </a:cubicBezTo>
                <a:cubicBezTo>
                  <a:pt x="6382051" y="2722187"/>
                  <a:pt x="6382051" y="2722187"/>
                  <a:pt x="6382051" y="2722187"/>
                </a:cubicBezTo>
                <a:cubicBezTo>
                  <a:pt x="6383050" y="2726858"/>
                  <a:pt x="6388719" y="2730531"/>
                  <a:pt x="6389717" y="2735202"/>
                </a:cubicBezTo>
                <a:cubicBezTo>
                  <a:pt x="6390715" y="2739873"/>
                  <a:pt x="6391713" y="2744545"/>
                  <a:pt x="6391713" y="2744545"/>
                </a:cubicBezTo>
                <a:cubicBezTo>
                  <a:pt x="6387041" y="2745542"/>
                  <a:pt x="6387041" y="2745542"/>
                  <a:pt x="6388038" y="2750212"/>
                </a:cubicBezTo>
                <a:cubicBezTo>
                  <a:pt x="6388038" y="2750212"/>
                  <a:pt x="6389037" y="2754885"/>
                  <a:pt x="6393708" y="2753886"/>
                </a:cubicBezTo>
                <a:cubicBezTo>
                  <a:pt x="6393708" y="2753886"/>
                  <a:pt x="6394705" y="2758557"/>
                  <a:pt x="6391033" y="2764226"/>
                </a:cubicBezTo>
                <a:cubicBezTo>
                  <a:pt x="6397701" y="2772572"/>
                  <a:pt x="6397701" y="2772572"/>
                  <a:pt x="6397701" y="2772572"/>
                </a:cubicBezTo>
                <a:cubicBezTo>
                  <a:pt x="6397701" y="2772572"/>
                  <a:pt x="6396703" y="2767899"/>
                  <a:pt x="6401373" y="2766901"/>
                </a:cubicBezTo>
                <a:cubicBezTo>
                  <a:pt x="6402371" y="2771573"/>
                  <a:pt x="6403369" y="2776243"/>
                  <a:pt x="6404367" y="2780914"/>
                </a:cubicBezTo>
                <a:cubicBezTo>
                  <a:pt x="6405364" y="2785585"/>
                  <a:pt x="6405364" y="2785585"/>
                  <a:pt x="6405364" y="2785585"/>
                </a:cubicBezTo>
                <a:cubicBezTo>
                  <a:pt x="6412031" y="2793929"/>
                  <a:pt x="6413030" y="2798601"/>
                  <a:pt x="6414027" y="2803272"/>
                </a:cubicBezTo>
                <a:cubicBezTo>
                  <a:pt x="6416023" y="2812613"/>
                  <a:pt x="6417022" y="2817284"/>
                  <a:pt x="6418019" y="2821954"/>
                </a:cubicBezTo>
                <a:cubicBezTo>
                  <a:pt x="6419017" y="2826627"/>
                  <a:pt x="6419017" y="2826627"/>
                  <a:pt x="6421013" y="2835968"/>
                </a:cubicBezTo>
                <a:cubicBezTo>
                  <a:pt x="6417341" y="2841638"/>
                  <a:pt x="6425005" y="2854652"/>
                  <a:pt x="6427000" y="2863995"/>
                </a:cubicBezTo>
                <a:cubicBezTo>
                  <a:pt x="6427999" y="2868666"/>
                  <a:pt x="6424325" y="2874335"/>
                  <a:pt x="6425323" y="2879006"/>
                </a:cubicBezTo>
                <a:cubicBezTo>
                  <a:pt x="6425323" y="2879006"/>
                  <a:pt x="6419655" y="2875334"/>
                  <a:pt x="6419655" y="2875334"/>
                </a:cubicBezTo>
                <a:cubicBezTo>
                  <a:pt x="6418657" y="2870661"/>
                  <a:pt x="6413985" y="2871660"/>
                  <a:pt x="6413985" y="2871660"/>
                </a:cubicBezTo>
                <a:cubicBezTo>
                  <a:pt x="6413985" y="2871660"/>
                  <a:pt x="6413985" y="2871660"/>
                  <a:pt x="6414983" y="2876331"/>
                </a:cubicBezTo>
                <a:cubicBezTo>
                  <a:pt x="6415981" y="2881001"/>
                  <a:pt x="6415981" y="2881001"/>
                  <a:pt x="6415981" y="2881001"/>
                </a:cubicBezTo>
                <a:cubicBezTo>
                  <a:pt x="6416979" y="2885672"/>
                  <a:pt x="6416979" y="2885672"/>
                  <a:pt x="6421651" y="2884673"/>
                </a:cubicBezTo>
                <a:cubicBezTo>
                  <a:pt x="6421651" y="2884673"/>
                  <a:pt x="6427318" y="2888347"/>
                  <a:pt x="6427318" y="2888347"/>
                </a:cubicBezTo>
                <a:cubicBezTo>
                  <a:pt x="6431991" y="2887350"/>
                  <a:pt x="6431991" y="2887350"/>
                  <a:pt x="6431991" y="2887350"/>
                </a:cubicBezTo>
                <a:cubicBezTo>
                  <a:pt x="6430992" y="2882679"/>
                  <a:pt x="6433667" y="2872339"/>
                  <a:pt x="6431673" y="2862996"/>
                </a:cubicBezTo>
                <a:cubicBezTo>
                  <a:pt x="6430674" y="2858326"/>
                  <a:pt x="6430674" y="2858326"/>
                  <a:pt x="6430674" y="2858326"/>
                </a:cubicBezTo>
                <a:cubicBezTo>
                  <a:pt x="6429677" y="2853655"/>
                  <a:pt x="6423009" y="2845311"/>
                  <a:pt x="6426681" y="2839641"/>
                </a:cubicBezTo>
                <a:cubicBezTo>
                  <a:pt x="6425685" y="2834970"/>
                  <a:pt x="6425685" y="2834970"/>
                  <a:pt x="6424687" y="2830300"/>
                </a:cubicBezTo>
                <a:cubicBezTo>
                  <a:pt x="6430354" y="2833972"/>
                  <a:pt x="6432351" y="2843315"/>
                  <a:pt x="6434347" y="2852656"/>
                </a:cubicBezTo>
                <a:cubicBezTo>
                  <a:pt x="6436343" y="2861998"/>
                  <a:pt x="6438339" y="2871341"/>
                  <a:pt x="6445005" y="2879684"/>
                </a:cubicBezTo>
                <a:cubicBezTo>
                  <a:pt x="6446003" y="2884355"/>
                  <a:pt x="6441332" y="2885354"/>
                  <a:pt x="6442331" y="2890025"/>
                </a:cubicBezTo>
                <a:cubicBezTo>
                  <a:pt x="6444325" y="2899366"/>
                  <a:pt x="6444325" y="2899366"/>
                  <a:pt x="6444325" y="2899366"/>
                </a:cubicBezTo>
                <a:cubicBezTo>
                  <a:pt x="6446321" y="2908707"/>
                  <a:pt x="6447319" y="2913380"/>
                  <a:pt x="6449315" y="2922721"/>
                </a:cubicBezTo>
                <a:cubicBezTo>
                  <a:pt x="6443648" y="2919049"/>
                  <a:pt x="6443648" y="2919049"/>
                  <a:pt x="6443648" y="2919049"/>
                </a:cubicBezTo>
                <a:cubicBezTo>
                  <a:pt x="6442649" y="2914378"/>
                  <a:pt x="6442649" y="2914378"/>
                  <a:pt x="6438977" y="2920046"/>
                </a:cubicBezTo>
                <a:cubicBezTo>
                  <a:pt x="6438977" y="2920046"/>
                  <a:pt x="6438977" y="2920046"/>
                  <a:pt x="6439974" y="2924716"/>
                </a:cubicBezTo>
                <a:cubicBezTo>
                  <a:pt x="6439974" y="2924716"/>
                  <a:pt x="6440971" y="2929388"/>
                  <a:pt x="6440971" y="2929388"/>
                </a:cubicBezTo>
                <a:cubicBezTo>
                  <a:pt x="6446641" y="2933062"/>
                  <a:pt x="6446641" y="2933062"/>
                  <a:pt x="6446641" y="2933062"/>
                </a:cubicBezTo>
                <a:cubicBezTo>
                  <a:pt x="6446641" y="2933062"/>
                  <a:pt x="6447639" y="2937733"/>
                  <a:pt x="6447639" y="2937733"/>
                </a:cubicBezTo>
                <a:cubicBezTo>
                  <a:pt x="6447639" y="2937733"/>
                  <a:pt x="6447639" y="2937733"/>
                  <a:pt x="6448636" y="2942403"/>
                </a:cubicBezTo>
                <a:cubicBezTo>
                  <a:pt x="6449635" y="2947074"/>
                  <a:pt x="6456301" y="2955418"/>
                  <a:pt x="6457299" y="2960089"/>
                </a:cubicBezTo>
                <a:cubicBezTo>
                  <a:pt x="6460291" y="2974102"/>
                  <a:pt x="6465961" y="2977776"/>
                  <a:pt x="6462289" y="2983446"/>
                </a:cubicBezTo>
                <a:cubicBezTo>
                  <a:pt x="6457619" y="2984443"/>
                  <a:pt x="6458617" y="2989113"/>
                  <a:pt x="6458617" y="2989113"/>
                </a:cubicBezTo>
                <a:cubicBezTo>
                  <a:pt x="6458617" y="2989113"/>
                  <a:pt x="6453944" y="2990112"/>
                  <a:pt x="6452947" y="2985442"/>
                </a:cubicBezTo>
                <a:cubicBezTo>
                  <a:pt x="6448955" y="2966757"/>
                  <a:pt x="6444963" y="2948073"/>
                  <a:pt x="6436301" y="2930386"/>
                </a:cubicBezTo>
                <a:cubicBezTo>
                  <a:pt x="6435303" y="2925715"/>
                  <a:pt x="6435303" y="2925715"/>
                  <a:pt x="6435303" y="2925715"/>
                </a:cubicBezTo>
                <a:cubicBezTo>
                  <a:pt x="6430633" y="2926712"/>
                  <a:pt x="6431630" y="2931384"/>
                  <a:pt x="6431630" y="2931384"/>
                </a:cubicBezTo>
                <a:cubicBezTo>
                  <a:pt x="6440292" y="2949070"/>
                  <a:pt x="6444285" y="2967756"/>
                  <a:pt x="6448275" y="2986439"/>
                </a:cubicBezTo>
                <a:cubicBezTo>
                  <a:pt x="6443605" y="2987437"/>
                  <a:pt x="6438934" y="2988434"/>
                  <a:pt x="6436259" y="2998774"/>
                </a:cubicBezTo>
                <a:cubicBezTo>
                  <a:pt x="6441249" y="3022129"/>
                  <a:pt x="6432905" y="3028797"/>
                  <a:pt x="6437895" y="3052152"/>
                </a:cubicBezTo>
                <a:cubicBezTo>
                  <a:pt x="6427511" y="3117864"/>
                  <a:pt x="6434137" y="3194596"/>
                  <a:pt x="6440443" y="3246975"/>
                </a:cubicBezTo>
                <a:cubicBezTo>
                  <a:pt x="6441441" y="3251646"/>
                  <a:pt x="6441441" y="3251646"/>
                  <a:pt x="6441441" y="3251646"/>
                </a:cubicBezTo>
                <a:cubicBezTo>
                  <a:pt x="6441441" y="3251646"/>
                  <a:pt x="6442439" y="3256318"/>
                  <a:pt x="6442439" y="3256318"/>
                </a:cubicBezTo>
                <a:cubicBezTo>
                  <a:pt x="6447110" y="3255320"/>
                  <a:pt x="6447110" y="3255320"/>
                  <a:pt x="6446113" y="3250648"/>
                </a:cubicBezTo>
                <a:cubicBezTo>
                  <a:pt x="6439805" y="3198269"/>
                  <a:pt x="6434179" y="3126208"/>
                  <a:pt x="6444561" y="3060496"/>
                </a:cubicBezTo>
                <a:cubicBezTo>
                  <a:pt x="6445559" y="3065167"/>
                  <a:pt x="6445559" y="3065167"/>
                  <a:pt x="6445559" y="3065167"/>
                </a:cubicBezTo>
                <a:cubicBezTo>
                  <a:pt x="6450230" y="3064168"/>
                  <a:pt x="6449231" y="3059497"/>
                  <a:pt x="6452905" y="3053828"/>
                </a:cubicBezTo>
                <a:cubicBezTo>
                  <a:pt x="6453903" y="3058500"/>
                  <a:pt x="6454901" y="3063171"/>
                  <a:pt x="6455899" y="3067841"/>
                </a:cubicBezTo>
                <a:cubicBezTo>
                  <a:pt x="6455899" y="3067841"/>
                  <a:pt x="6455899" y="3067841"/>
                  <a:pt x="6451227" y="3068840"/>
                </a:cubicBezTo>
                <a:cubicBezTo>
                  <a:pt x="6452226" y="3073511"/>
                  <a:pt x="6452226" y="3073511"/>
                  <a:pt x="6452226" y="3073511"/>
                </a:cubicBezTo>
                <a:cubicBezTo>
                  <a:pt x="6452226" y="3073511"/>
                  <a:pt x="6452226" y="3073511"/>
                  <a:pt x="6453223" y="3078181"/>
                </a:cubicBezTo>
                <a:cubicBezTo>
                  <a:pt x="6453223" y="3078181"/>
                  <a:pt x="6457895" y="3077183"/>
                  <a:pt x="6457895" y="3077183"/>
                </a:cubicBezTo>
                <a:cubicBezTo>
                  <a:pt x="6455219" y="3087523"/>
                  <a:pt x="6457215" y="3096865"/>
                  <a:pt x="6458213" y="3101536"/>
                </a:cubicBezTo>
                <a:cubicBezTo>
                  <a:pt x="6459212" y="3106207"/>
                  <a:pt x="6459212" y="3106207"/>
                  <a:pt x="6460209" y="3110879"/>
                </a:cubicBezTo>
                <a:cubicBezTo>
                  <a:pt x="6461207" y="3115548"/>
                  <a:pt x="6462205" y="3120221"/>
                  <a:pt x="6463203" y="3124891"/>
                </a:cubicBezTo>
                <a:lnTo>
                  <a:pt x="6464201" y="3129561"/>
                </a:lnTo>
                <a:cubicBezTo>
                  <a:pt x="6459529" y="3130560"/>
                  <a:pt x="6459529" y="3130560"/>
                  <a:pt x="6460527" y="3135231"/>
                </a:cubicBezTo>
                <a:cubicBezTo>
                  <a:pt x="6461525" y="3139903"/>
                  <a:pt x="6461525" y="3139903"/>
                  <a:pt x="6462523" y="3144574"/>
                </a:cubicBezTo>
                <a:cubicBezTo>
                  <a:pt x="6462523" y="3144574"/>
                  <a:pt x="6468192" y="3148246"/>
                  <a:pt x="6468192" y="3148246"/>
                </a:cubicBezTo>
                <a:cubicBezTo>
                  <a:pt x="6480848" y="3184617"/>
                  <a:pt x="6488831" y="3221985"/>
                  <a:pt x="6492143" y="3260351"/>
                </a:cubicBezTo>
                <a:cubicBezTo>
                  <a:pt x="6491463" y="3280033"/>
                  <a:pt x="6494457" y="3294046"/>
                  <a:pt x="6493779" y="3313728"/>
                </a:cubicBezTo>
                <a:cubicBezTo>
                  <a:pt x="6493779" y="3313728"/>
                  <a:pt x="6498449" y="3312730"/>
                  <a:pt x="6497452" y="3308059"/>
                </a:cubicBezTo>
                <a:cubicBezTo>
                  <a:pt x="6499767" y="3341754"/>
                  <a:pt x="6505755" y="3369779"/>
                  <a:pt x="6508067" y="3403475"/>
                </a:cubicBezTo>
                <a:cubicBezTo>
                  <a:pt x="6509067" y="3408146"/>
                  <a:pt x="6509067" y="3408146"/>
                  <a:pt x="6513737" y="3407147"/>
                </a:cubicBezTo>
                <a:cubicBezTo>
                  <a:pt x="6515734" y="3416490"/>
                  <a:pt x="6512060" y="3422158"/>
                  <a:pt x="6514056" y="3431501"/>
                </a:cubicBezTo>
                <a:cubicBezTo>
                  <a:pt x="6513059" y="3426829"/>
                  <a:pt x="6509385" y="3432498"/>
                  <a:pt x="6510383" y="3437170"/>
                </a:cubicBezTo>
                <a:cubicBezTo>
                  <a:pt x="6515053" y="3436171"/>
                  <a:pt x="6516052" y="3440844"/>
                  <a:pt x="6517049" y="3445513"/>
                </a:cubicBezTo>
                <a:cubicBezTo>
                  <a:pt x="6519045" y="3454856"/>
                  <a:pt x="6516370" y="3465195"/>
                  <a:pt x="6518367" y="3474537"/>
                </a:cubicBezTo>
                <a:cubicBezTo>
                  <a:pt x="6518367" y="3474537"/>
                  <a:pt x="6519363" y="3479209"/>
                  <a:pt x="6519363" y="3479209"/>
                </a:cubicBezTo>
                <a:cubicBezTo>
                  <a:pt x="6520363" y="3483879"/>
                  <a:pt x="6516690" y="3489549"/>
                  <a:pt x="6517687" y="3494220"/>
                </a:cubicBezTo>
                <a:cubicBezTo>
                  <a:pt x="6518686" y="3498890"/>
                  <a:pt x="6518686" y="3498890"/>
                  <a:pt x="6518686" y="3498890"/>
                </a:cubicBezTo>
                <a:cubicBezTo>
                  <a:pt x="6518686" y="3498890"/>
                  <a:pt x="6519683" y="3503561"/>
                  <a:pt x="6519683" y="3503561"/>
                </a:cubicBezTo>
                <a:cubicBezTo>
                  <a:pt x="6521001" y="3532585"/>
                  <a:pt x="6517645" y="3562608"/>
                  <a:pt x="6517965" y="3586960"/>
                </a:cubicBezTo>
                <a:cubicBezTo>
                  <a:pt x="6517965" y="3586960"/>
                  <a:pt x="6524631" y="3595304"/>
                  <a:pt x="6520957" y="3600973"/>
                </a:cubicBezTo>
                <a:cubicBezTo>
                  <a:pt x="6520957" y="3600973"/>
                  <a:pt x="6521957" y="3605644"/>
                  <a:pt x="6521957" y="3605644"/>
                </a:cubicBezTo>
                <a:cubicBezTo>
                  <a:pt x="6520957" y="3600973"/>
                  <a:pt x="6523951" y="3614987"/>
                  <a:pt x="6525949" y="3624328"/>
                </a:cubicBezTo>
                <a:cubicBezTo>
                  <a:pt x="6525268" y="3644009"/>
                  <a:pt x="6519918" y="3664689"/>
                  <a:pt x="6518240" y="3679702"/>
                </a:cubicBezTo>
                <a:cubicBezTo>
                  <a:pt x="6511849" y="3764098"/>
                  <a:pt x="6506139" y="3828814"/>
                  <a:pt x="6499429" y="3888856"/>
                </a:cubicBezTo>
                <a:cubicBezTo>
                  <a:pt x="6500429" y="3893529"/>
                  <a:pt x="6500429" y="3893529"/>
                  <a:pt x="6500429" y="3893529"/>
                </a:cubicBezTo>
                <a:cubicBezTo>
                  <a:pt x="6496756" y="3899196"/>
                  <a:pt x="6496756" y="3899196"/>
                  <a:pt x="6496756" y="3899196"/>
                </a:cubicBezTo>
                <a:cubicBezTo>
                  <a:pt x="6489569" y="3922712"/>
                  <a:pt x="6482133" y="3945057"/>
                  <a:pt x="6474945" y="3968571"/>
                </a:cubicBezTo>
                <a:lnTo>
                  <a:pt x="6456817" y="4036740"/>
                </a:lnTo>
                <a:lnTo>
                  <a:pt x="6457067" y="4035275"/>
                </a:lnTo>
                <a:cubicBezTo>
                  <a:pt x="6457936" y="4028984"/>
                  <a:pt x="6458565" y="4023355"/>
                  <a:pt x="6458983" y="4019603"/>
                </a:cubicBezTo>
                <a:cubicBezTo>
                  <a:pt x="6457986" y="4014933"/>
                  <a:pt x="6461660" y="4009263"/>
                  <a:pt x="6461660" y="4009263"/>
                </a:cubicBezTo>
                <a:cubicBezTo>
                  <a:pt x="6467009" y="3988583"/>
                  <a:pt x="6474355" y="3977246"/>
                  <a:pt x="6468688" y="3973572"/>
                </a:cubicBezTo>
                <a:cubicBezTo>
                  <a:pt x="6477032" y="3966905"/>
                  <a:pt x="6480385" y="3936883"/>
                  <a:pt x="6480067" y="3912531"/>
                </a:cubicBezTo>
                <a:cubicBezTo>
                  <a:pt x="6479069" y="3907860"/>
                  <a:pt x="6478071" y="3903188"/>
                  <a:pt x="6482742" y="3902189"/>
                </a:cubicBezTo>
                <a:cubicBezTo>
                  <a:pt x="6482742" y="3902189"/>
                  <a:pt x="6486415" y="3896521"/>
                  <a:pt x="6485417" y="3891851"/>
                </a:cubicBezTo>
                <a:cubicBezTo>
                  <a:pt x="6484419" y="3887180"/>
                  <a:pt x="6483421" y="3882508"/>
                  <a:pt x="6479749" y="3888177"/>
                </a:cubicBezTo>
                <a:cubicBezTo>
                  <a:pt x="6475079" y="3889174"/>
                  <a:pt x="6472402" y="3899516"/>
                  <a:pt x="6469727" y="3909856"/>
                </a:cubicBezTo>
                <a:cubicBezTo>
                  <a:pt x="6470724" y="3914527"/>
                  <a:pt x="6470724" y="3914527"/>
                  <a:pt x="6470724" y="3914527"/>
                </a:cubicBezTo>
                <a:cubicBezTo>
                  <a:pt x="6460023" y="3955887"/>
                  <a:pt x="6453675" y="3971894"/>
                  <a:pt x="6451319" y="4006588"/>
                </a:cubicBezTo>
                <a:cubicBezTo>
                  <a:pt x="6451319" y="4006588"/>
                  <a:pt x="6452317" y="4011259"/>
                  <a:pt x="6452317" y="4011259"/>
                </a:cubicBezTo>
                <a:cubicBezTo>
                  <a:pt x="6448645" y="4016928"/>
                  <a:pt x="6442295" y="4032937"/>
                  <a:pt x="6438623" y="4038605"/>
                </a:cubicBezTo>
                <a:cubicBezTo>
                  <a:pt x="6445290" y="4046951"/>
                  <a:pt x="6435947" y="4048945"/>
                  <a:pt x="6430597" y="4069625"/>
                </a:cubicBezTo>
                <a:cubicBezTo>
                  <a:pt x="6427083" y="4087471"/>
                  <a:pt x="6423151" y="4109069"/>
                  <a:pt x="6417467" y="4131042"/>
                </a:cubicBezTo>
                <a:lnTo>
                  <a:pt x="6397652" y="4184394"/>
                </a:lnTo>
                <a:lnTo>
                  <a:pt x="6395501" y="4179691"/>
                </a:lnTo>
                <a:cubicBezTo>
                  <a:pt x="6374101" y="4262411"/>
                  <a:pt x="6346031" y="4336787"/>
                  <a:pt x="6310617" y="4422501"/>
                </a:cubicBezTo>
                <a:cubicBezTo>
                  <a:pt x="6310617" y="4422501"/>
                  <a:pt x="6305947" y="4423498"/>
                  <a:pt x="6305947" y="4423498"/>
                </a:cubicBezTo>
                <a:cubicBezTo>
                  <a:pt x="6306945" y="4428171"/>
                  <a:pt x="6306945" y="4428171"/>
                  <a:pt x="6306945" y="4428171"/>
                </a:cubicBezTo>
                <a:cubicBezTo>
                  <a:pt x="6306945" y="4428171"/>
                  <a:pt x="6306945" y="4428171"/>
                  <a:pt x="6307942" y="4432841"/>
                </a:cubicBezTo>
                <a:cubicBezTo>
                  <a:pt x="6304269" y="4438509"/>
                  <a:pt x="6295926" y="4445177"/>
                  <a:pt x="6292252" y="4450844"/>
                </a:cubicBezTo>
                <a:cubicBezTo>
                  <a:pt x="6304588" y="4462863"/>
                  <a:pt x="6277879" y="4497874"/>
                  <a:pt x="6268855" y="4524223"/>
                </a:cubicBezTo>
                <a:cubicBezTo>
                  <a:pt x="6263187" y="4520549"/>
                  <a:pt x="6270533" y="4509212"/>
                  <a:pt x="6265862" y="4510210"/>
                </a:cubicBezTo>
                <a:cubicBezTo>
                  <a:pt x="6247495" y="4538557"/>
                  <a:pt x="6276202" y="4512886"/>
                  <a:pt x="6258833" y="4545902"/>
                </a:cubicBezTo>
                <a:cubicBezTo>
                  <a:pt x="6254163" y="4546899"/>
                  <a:pt x="6257837" y="4541229"/>
                  <a:pt x="6253165" y="4542228"/>
                </a:cubicBezTo>
                <a:cubicBezTo>
                  <a:pt x="6241465" y="4578916"/>
                  <a:pt x="6218430" y="4608260"/>
                  <a:pt x="6214077" y="4633610"/>
                </a:cubicBezTo>
                <a:cubicBezTo>
                  <a:pt x="6214077" y="4633610"/>
                  <a:pt x="6216752" y="4623271"/>
                  <a:pt x="6209407" y="4634608"/>
                </a:cubicBezTo>
                <a:cubicBezTo>
                  <a:pt x="6209725" y="4658961"/>
                  <a:pt x="6184693" y="4678962"/>
                  <a:pt x="6170001" y="4701637"/>
                </a:cubicBezTo>
                <a:cubicBezTo>
                  <a:pt x="6161976" y="4732658"/>
                  <a:pt x="6143609" y="4761003"/>
                  <a:pt x="6124246" y="4784676"/>
                </a:cubicBezTo>
                <a:cubicBezTo>
                  <a:pt x="6114564" y="4796514"/>
                  <a:pt x="6104883" y="4808350"/>
                  <a:pt x="6094991" y="4822064"/>
                </a:cubicBezTo>
                <a:lnTo>
                  <a:pt x="6068122" y="4864900"/>
                </a:lnTo>
                <a:lnTo>
                  <a:pt x="6067155" y="4860368"/>
                </a:lnTo>
                <a:cubicBezTo>
                  <a:pt x="6062481" y="4861367"/>
                  <a:pt x="6062481" y="4861367"/>
                  <a:pt x="6063481" y="4866038"/>
                </a:cubicBezTo>
                <a:cubicBezTo>
                  <a:pt x="6060805" y="4876378"/>
                  <a:pt x="6060805" y="4876378"/>
                  <a:pt x="6060805" y="4876378"/>
                </a:cubicBezTo>
                <a:cubicBezTo>
                  <a:pt x="6059807" y="4871705"/>
                  <a:pt x="6059807" y="4871705"/>
                  <a:pt x="6059807" y="4871705"/>
                </a:cubicBezTo>
                <a:cubicBezTo>
                  <a:pt x="6051464" y="4878373"/>
                  <a:pt x="6044117" y="4889711"/>
                  <a:pt x="6037769" y="4905720"/>
                </a:cubicBezTo>
                <a:cubicBezTo>
                  <a:pt x="6037769" y="4905720"/>
                  <a:pt x="6038767" y="4910391"/>
                  <a:pt x="6038767" y="4910391"/>
                </a:cubicBezTo>
                <a:cubicBezTo>
                  <a:pt x="6039766" y="4915063"/>
                  <a:pt x="6035093" y="4916060"/>
                  <a:pt x="6036091" y="4920731"/>
                </a:cubicBezTo>
                <a:cubicBezTo>
                  <a:pt x="6035093" y="4916060"/>
                  <a:pt x="6038767" y="4910391"/>
                  <a:pt x="6034095" y="4911389"/>
                </a:cubicBezTo>
                <a:cubicBezTo>
                  <a:pt x="6030421" y="4917059"/>
                  <a:pt x="6026751" y="4922726"/>
                  <a:pt x="6023077" y="4928396"/>
                </a:cubicBezTo>
                <a:cubicBezTo>
                  <a:pt x="6022078" y="4923723"/>
                  <a:pt x="6022078" y="4923723"/>
                  <a:pt x="6022078" y="4923723"/>
                </a:cubicBezTo>
                <a:cubicBezTo>
                  <a:pt x="6022078" y="4923723"/>
                  <a:pt x="6022078" y="4923723"/>
                  <a:pt x="6021081" y="4919054"/>
                </a:cubicBezTo>
                <a:cubicBezTo>
                  <a:pt x="6021081" y="4919054"/>
                  <a:pt x="6021081" y="4919054"/>
                  <a:pt x="6016409" y="4920052"/>
                </a:cubicBezTo>
                <a:cubicBezTo>
                  <a:pt x="6017407" y="4924722"/>
                  <a:pt x="6018405" y="4929393"/>
                  <a:pt x="6018405" y="4929393"/>
                </a:cubicBezTo>
                <a:cubicBezTo>
                  <a:pt x="6018405" y="4929393"/>
                  <a:pt x="6018405" y="4929393"/>
                  <a:pt x="6019404" y="4934065"/>
                </a:cubicBezTo>
                <a:cubicBezTo>
                  <a:pt x="6019404" y="4934065"/>
                  <a:pt x="6015730" y="4939735"/>
                  <a:pt x="6015730" y="4939735"/>
                </a:cubicBezTo>
                <a:cubicBezTo>
                  <a:pt x="6015730" y="4939735"/>
                  <a:pt x="6011059" y="4940732"/>
                  <a:pt x="6011059" y="4940732"/>
                </a:cubicBezTo>
                <a:cubicBezTo>
                  <a:pt x="6011059" y="4940732"/>
                  <a:pt x="6006389" y="4941731"/>
                  <a:pt x="6006389" y="4941731"/>
                </a:cubicBezTo>
                <a:cubicBezTo>
                  <a:pt x="6007386" y="4946401"/>
                  <a:pt x="6007386" y="4946401"/>
                  <a:pt x="6007386" y="4946401"/>
                </a:cubicBezTo>
                <a:cubicBezTo>
                  <a:pt x="6008383" y="4951071"/>
                  <a:pt x="6008383" y="4951071"/>
                  <a:pt x="6008383" y="4951071"/>
                </a:cubicBezTo>
                <a:cubicBezTo>
                  <a:pt x="6004711" y="4956741"/>
                  <a:pt x="6001039" y="4962408"/>
                  <a:pt x="5996367" y="4963407"/>
                </a:cubicBezTo>
                <a:cubicBezTo>
                  <a:pt x="5996367" y="4963407"/>
                  <a:pt x="5996367" y="4963407"/>
                  <a:pt x="5995370" y="4958737"/>
                </a:cubicBezTo>
                <a:cubicBezTo>
                  <a:pt x="5995370" y="4958737"/>
                  <a:pt x="5991696" y="4964406"/>
                  <a:pt x="5991696" y="4964406"/>
                </a:cubicBezTo>
                <a:cubicBezTo>
                  <a:pt x="5988022" y="4970074"/>
                  <a:pt x="5988022" y="4970074"/>
                  <a:pt x="5988022" y="4970074"/>
                </a:cubicBezTo>
                <a:cubicBezTo>
                  <a:pt x="5988022" y="4970074"/>
                  <a:pt x="5984349" y="4975743"/>
                  <a:pt x="5985347" y="4980414"/>
                </a:cubicBezTo>
                <a:cubicBezTo>
                  <a:pt x="5984349" y="4975743"/>
                  <a:pt x="5984349" y="4975743"/>
                  <a:pt x="5984349" y="4975743"/>
                </a:cubicBezTo>
                <a:cubicBezTo>
                  <a:pt x="5979678" y="4976742"/>
                  <a:pt x="5976005" y="4982409"/>
                  <a:pt x="5967661" y="4989076"/>
                </a:cubicBezTo>
                <a:cubicBezTo>
                  <a:pt x="5970335" y="4978738"/>
                  <a:pt x="5962990" y="4990075"/>
                  <a:pt x="5965665" y="4979735"/>
                </a:cubicBezTo>
                <a:cubicBezTo>
                  <a:pt x="5949975" y="4997740"/>
                  <a:pt x="5949975" y="4997740"/>
                  <a:pt x="5949975" y="4997740"/>
                </a:cubicBezTo>
                <a:cubicBezTo>
                  <a:pt x="5949975" y="4997740"/>
                  <a:pt x="5948977" y="4993069"/>
                  <a:pt x="5948977" y="4993069"/>
                </a:cubicBezTo>
                <a:cubicBezTo>
                  <a:pt x="5952650" y="4987400"/>
                  <a:pt x="5952650" y="4987400"/>
                  <a:pt x="5952650" y="4987400"/>
                </a:cubicBezTo>
                <a:cubicBezTo>
                  <a:pt x="5952650" y="4987400"/>
                  <a:pt x="5957320" y="4986401"/>
                  <a:pt x="5951653" y="4982729"/>
                </a:cubicBezTo>
                <a:cubicBezTo>
                  <a:pt x="5951653" y="4982729"/>
                  <a:pt x="5951653" y="4982729"/>
                  <a:pt x="5947981" y="4988397"/>
                </a:cubicBezTo>
                <a:cubicBezTo>
                  <a:pt x="5944307" y="4994067"/>
                  <a:pt x="5944307" y="4994067"/>
                  <a:pt x="5944307" y="4994067"/>
                </a:cubicBezTo>
                <a:cubicBezTo>
                  <a:pt x="5945303" y="4998739"/>
                  <a:pt x="5940633" y="4999736"/>
                  <a:pt x="5941631" y="5004407"/>
                </a:cubicBezTo>
                <a:cubicBezTo>
                  <a:pt x="5941631" y="5004407"/>
                  <a:pt x="5947299" y="5008080"/>
                  <a:pt x="5950973" y="5002410"/>
                </a:cubicBezTo>
                <a:cubicBezTo>
                  <a:pt x="5947299" y="5008080"/>
                  <a:pt x="5947299" y="5008080"/>
                  <a:pt x="5947299" y="5008080"/>
                </a:cubicBezTo>
                <a:cubicBezTo>
                  <a:pt x="5937278" y="5029757"/>
                  <a:pt x="5931609" y="5026085"/>
                  <a:pt x="5929931" y="5041095"/>
                </a:cubicBezTo>
                <a:cubicBezTo>
                  <a:pt x="5937278" y="5029757"/>
                  <a:pt x="5942948" y="5033431"/>
                  <a:pt x="5947618" y="5032434"/>
                </a:cubicBezTo>
                <a:cubicBezTo>
                  <a:pt x="5943945" y="5038101"/>
                  <a:pt x="5935601" y="5044769"/>
                  <a:pt x="5931927" y="5050439"/>
                </a:cubicBezTo>
                <a:cubicBezTo>
                  <a:pt x="5928255" y="5056106"/>
                  <a:pt x="5924583" y="5061776"/>
                  <a:pt x="5920909" y="5067445"/>
                </a:cubicBezTo>
                <a:cubicBezTo>
                  <a:pt x="5916239" y="5068442"/>
                  <a:pt x="5912565" y="5074111"/>
                  <a:pt x="5912565" y="5074111"/>
                </a:cubicBezTo>
                <a:cubicBezTo>
                  <a:pt x="5907893" y="5075110"/>
                  <a:pt x="5911567" y="5069441"/>
                  <a:pt x="5910570" y="5064770"/>
                </a:cubicBezTo>
                <a:cubicBezTo>
                  <a:pt x="5895877" y="5087444"/>
                  <a:pt x="5895877" y="5087444"/>
                  <a:pt x="5895877" y="5087444"/>
                </a:cubicBezTo>
                <a:cubicBezTo>
                  <a:pt x="5890208" y="5083772"/>
                  <a:pt x="5890208" y="5083772"/>
                  <a:pt x="5890208" y="5083772"/>
                </a:cubicBezTo>
                <a:cubicBezTo>
                  <a:pt x="5890208" y="5083772"/>
                  <a:pt x="5889209" y="5079100"/>
                  <a:pt x="5893881" y="5078103"/>
                </a:cubicBezTo>
                <a:cubicBezTo>
                  <a:pt x="5892882" y="5073432"/>
                  <a:pt x="5892882" y="5073432"/>
                  <a:pt x="5892882" y="5073432"/>
                </a:cubicBezTo>
                <a:cubicBezTo>
                  <a:pt x="5892882" y="5073432"/>
                  <a:pt x="5892882" y="5073432"/>
                  <a:pt x="5888211" y="5074430"/>
                </a:cubicBezTo>
                <a:cubicBezTo>
                  <a:pt x="5883541" y="5075428"/>
                  <a:pt x="5884539" y="5080098"/>
                  <a:pt x="5884539" y="5080098"/>
                </a:cubicBezTo>
                <a:cubicBezTo>
                  <a:pt x="5885537" y="5084770"/>
                  <a:pt x="5885537" y="5084770"/>
                  <a:pt x="5885537" y="5084770"/>
                </a:cubicBezTo>
                <a:cubicBezTo>
                  <a:pt x="5885537" y="5084770"/>
                  <a:pt x="5880865" y="5085768"/>
                  <a:pt x="5881863" y="5090439"/>
                </a:cubicBezTo>
                <a:cubicBezTo>
                  <a:pt x="5881863" y="5090439"/>
                  <a:pt x="5881863" y="5090439"/>
                  <a:pt x="5878191" y="5096109"/>
                </a:cubicBezTo>
                <a:cubicBezTo>
                  <a:pt x="5878191" y="5096109"/>
                  <a:pt x="5878191" y="5096109"/>
                  <a:pt x="5873519" y="5097107"/>
                </a:cubicBezTo>
                <a:cubicBezTo>
                  <a:pt x="5873519" y="5097107"/>
                  <a:pt x="5874517" y="5101778"/>
                  <a:pt x="5874517" y="5101778"/>
                </a:cubicBezTo>
                <a:cubicBezTo>
                  <a:pt x="5869847" y="5102775"/>
                  <a:pt x="5869847" y="5102775"/>
                  <a:pt x="5869847" y="5102775"/>
                </a:cubicBezTo>
                <a:cubicBezTo>
                  <a:pt x="5868847" y="5098105"/>
                  <a:pt x="5868847" y="5098105"/>
                  <a:pt x="5868847" y="5098105"/>
                </a:cubicBezTo>
                <a:cubicBezTo>
                  <a:pt x="5871523" y="5087764"/>
                  <a:pt x="5871523" y="5087764"/>
                  <a:pt x="5871523" y="5087764"/>
                </a:cubicBezTo>
                <a:cubicBezTo>
                  <a:pt x="5875195" y="5082095"/>
                  <a:pt x="5879868" y="5081096"/>
                  <a:pt x="5878869" y="5076427"/>
                </a:cubicBezTo>
                <a:cubicBezTo>
                  <a:pt x="5878869" y="5076427"/>
                  <a:pt x="5878869" y="5076427"/>
                  <a:pt x="5874198" y="5077424"/>
                </a:cubicBezTo>
                <a:cubicBezTo>
                  <a:pt x="5869528" y="5078423"/>
                  <a:pt x="5870525" y="5083093"/>
                  <a:pt x="5870525" y="5083093"/>
                </a:cubicBezTo>
                <a:cubicBezTo>
                  <a:pt x="5862180" y="5089760"/>
                  <a:pt x="5863179" y="5094431"/>
                  <a:pt x="5859507" y="5100100"/>
                </a:cubicBezTo>
                <a:cubicBezTo>
                  <a:pt x="5860503" y="5104770"/>
                  <a:pt x="5860503" y="5104770"/>
                  <a:pt x="5860503" y="5104770"/>
                </a:cubicBezTo>
                <a:cubicBezTo>
                  <a:pt x="5857829" y="5115111"/>
                  <a:pt x="5853159" y="5116110"/>
                  <a:pt x="5854156" y="5120780"/>
                </a:cubicBezTo>
                <a:cubicBezTo>
                  <a:pt x="5838465" y="5138783"/>
                  <a:pt x="5818104" y="5157787"/>
                  <a:pt x="5803411" y="5180463"/>
                </a:cubicBezTo>
                <a:cubicBezTo>
                  <a:pt x="5798741" y="5181460"/>
                  <a:pt x="5798741" y="5181460"/>
                  <a:pt x="5798741" y="5181460"/>
                </a:cubicBezTo>
                <a:cubicBezTo>
                  <a:pt x="5794069" y="5182459"/>
                  <a:pt x="5795068" y="5187130"/>
                  <a:pt x="5795068" y="5187130"/>
                </a:cubicBezTo>
                <a:cubicBezTo>
                  <a:pt x="5790395" y="5188128"/>
                  <a:pt x="5786723" y="5193798"/>
                  <a:pt x="5783051" y="5199465"/>
                </a:cubicBezTo>
                <a:cubicBezTo>
                  <a:pt x="5783051" y="5199465"/>
                  <a:pt x="5783051" y="5199465"/>
                  <a:pt x="5779378" y="5205135"/>
                </a:cubicBezTo>
                <a:cubicBezTo>
                  <a:pt x="5774707" y="5206133"/>
                  <a:pt x="5771033" y="5211801"/>
                  <a:pt x="5767360" y="5217470"/>
                </a:cubicBezTo>
                <a:cubicBezTo>
                  <a:pt x="5762689" y="5218469"/>
                  <a:pt x="5759016" y="5224137"/>
                  <a:pt x="5755343" y="5229806"/>
                </a:cubicBezTo>
                <a:cubicBezTo>
                  <a:pt x="5746001" y="5231802"/>
                  <a:pt x="5735979" y="5253481"/>
                  <a:pt x="5718293" y="5262142"/>
                </a:cubicBezTo>
                <a:cubicBezTo>
                  <a:pt x="5715617" y="5272484"/>
                  <a:pt x="5691583" y="5297155"/>
                  <a:pt x="5680564" y="5314161"/>
                </a:cubicBezTo>
                <a:cubicBezTo>
                  <a:pt x="5680564" y="5314161"/>
                  <a:pt x="5663876" y="5327495"/>
                  <a:pt x="5668546" y="5326497"/>
                </a:cubicBezTo>
                <a:cubicBezTo>
                  <a:pt x="5688908" y="5307495"/>
                  <a:pt x="5671541" y="5340510"/>
                  <a:pt x="5679885" y="5333842"/>
                </a:cubicBezTo>
                <a:cubicBezTo>
                  <a:pt x="5687230" y="5322506"/>
                  <a:pt x="5686233" y="5317835"/>
                  <a:pt x="5712263" y="5302506"/>
                </a:cubicBezTo>
                <a:cubicBezTo>
                  <a:pt x="5701923" y="5299829"/>
                  <a:pt x="5752987" y="5264500"/>
                  <a:pt x="5746319" y="5256155"/>
                </a:cubicBezTo>
                <a:cubicBezTo>
                  <a:pt x="5730629" y="5274159"/>
                  <a:pt x="5749991" y="5250486"/>
                  <a:pt x="5762009" y="5238151"/>
                </a:cubicBezTo>
                <a:cubicBezTo>
                  <a:pt x="5762009" y="5238151"/>
                  <a:pt x="5762009" y="5238151"/>
                  <a:pt x="5763007" y="5242821"/>
                </a:cubicBezTo>
                <a:cubicBezTo>
                  <a:pt x="5758337" y="5243820"/>
                  <a:pt x="5758337" y="5243820"/>
                  <a:pt x="5758337" y="5243820"/>
                </a:cubicBezTo>
                <a:cubicBezTo>
                  <a:pt x="5754665" y="5249489"/>
                  <a:pt x="5754665" y="5249489"/>
                  <a:pt x="5759335" y="5248491"/>
                </a:cubicBezTo>
                <a:cubicBezTo>
                  <a:pt x="5759335" y="5248491"/>
                  <a:pt x="5759335" y="5248491"/>
                  <a:pt x="5764005" y="5247493"/>
                </a:cubicBezTo>
                <a:cubicBezTo>
                  <a:pt x="5767679" y="5241824"/>
                  <a:pt x="5767679" y="5241824"/>
                  <a:pt x="5767679" y="5241824"/>
                </a:cubicBezTo>
                <a:cubicBezTo>
                  <a:pt x="5771352" y="5236154"/>
                  <a:pt x="5770353" y="5231484"/>
                  <a:pt x="5764685" y="5227811"/>
                </a:cubicBezTo>
                <a:cubicBezTo>
                  <a:pt x="5768359" y="5222141"/>
                  <a:pt x="5772031" y="5216473"/>
                  <a:pt x="5776701" y="5215474"/>
                </a:cubicBezTo>
                <a:cubicBezTo>
                  <a:pt x="5781373" y="5214476"/>
                  <a:pt x="5781373" y="5214476"/>
                  <a:pt x="5786044" y="5213479"/>
                </a:cubicBezTo>
                <a:cubicBezTo>
                  <a:pt x="5786044" y="5213479"/>
                  <a:pt x="5786044" y="5213479"/>
                  <a:pt x="5787043" y="5218150"/>
                </a:cubicBezTo>
                <a:cubicBezTo>
                  <a:pt x="5791713" y="5217152"/>
                  <a:pt x="5790713" y="5212480"/>
                  <a:pt x="5790713" y="5212480"/>
                </a:cubicBezTo>
                <a:cubicBezTo>
                  <a:pt x="5790713" y="5212480"/>
                  <a:pt x="5789717" y="5207810"/>
                  <a:pt x="5789717" y="5207810"/>
                </a:cubicBezTo>
                <a:cubicBezTo>
                  <a:pt x="5788719" y="5203139"/>
                  <a:pt x="5793391" y="5202140"/>
                  <a:pt x="5792393" y="5197469"/>
                </a:cubicBezTo>
                <a:cubicBezTo>
                  <a:pt x="5797063" y="5196472"/>
                  <a:pt x="5800735" y="5190803"/>
                  <a:pt x="5800735" y="5190803"/>
                </a:cubicBezTo>
                <a:cubicBezTo>
                  <a:pt x="5800735" y="5190803"/>
                  <a:pt x="5800735" y="5190803"/>
                  <a:pt x="5805408" y="5189806"/>
                </a:cubicBezTo>
                <a:cubicBezTo>
                  <a:pt x="5804409" y="5185134"/>
                  <a:pt x="5804409" y="5185134"/>
                  <a:pt x="5804409" y="5185134"/>
                </a:cubicBezTo>
                <a:cubicBezTo>
                  <a:pt x="5804409" y="5185134"/>
                  <a:pt x="5809081" y="5184136"/>
                  <a:pt x="5808082" y="5179466"/>
                </a:cubicBezTo>
                <a:cubicBezTo>
                  <a:pt x="5823773" y="5161461"/>
                  <a:pt x="5838465" y="5138783"/>
                  <a:pt x="5859825" y="5124453"/>
                </a:cubicBezTo>
                <a:cubicBezTo>
                  <a:pt x="5863499" y="5118782"/>
                  <a:pt x="5863499" y="5118782"/>
                  <a:pt x="5863499" y="5118782"/>
                </a:cubicBezTo>
                <a:cubicBezTo>
                  <a:pt x="5863499" y="5118782"/>
                  <a:pt x="5862500" y="5114113"/>
                  <a:pt x="5862500" y="5114113"/>
                </a:cubicBezTo>
                <a:cubicBezTo>
                  <a:pt x="5862500" y="5114113"/>
                  <a:pt x="5867171" y="5113115"/>
                  <a:pt x="5867171" y="5113115"/>
                </a:cubicBezTo>
                <a:cubicBezTo>
                  <a:pt x="5867171" y="5113115"/>
                  <a:pt x="5868169" y="5117785"/>
                  <a:pt x="5868169" y="5117785"/>
                </a:cubicBezTo>
                <a:cubicBezTo>
                  <a:pt x="5877511" y="5115790"/>
                  <a:pt x="5881183" y="5110122"/>
                  <a:pt x="5889529" y="5103454"/>
                </a:cubicBezTo>
                <a:cubicBezTo>
                  <a:pt x="5888531" y="5098783"/>
                  <a:pt x="5888531" y="5098783"/>
                  <a:pt x="5888531" y="5098783"/>
                </a:cubicBezTo>
                <a:cubicBezTo>
                  <a:pt x="5903541" y="5100459"/>
                  <a:pt x="5881183" y="5110122"/>
                  <a:pt x="5886853" y="5113794"/>
                </a:cubicBezTo>
                <a:cubicBezTo>
                  <a:pt x="5890527" y="5108126"/>
                  <a:pt x="5907214" y="5094792"/>
                  <a:pt x="5918235" y="5077785"/>
                </a:cubicBezTo>
                <a:cubicBezTo>
                  <a:pt x="5921907" y="5072115"/>
                  <a:pt x="5929254" y="5060777"/>
                  <a:pt x="5937596" y="5054110"/>
                </a:cubicBezTo>
                <a:cubicBezTo>
                  <a:pt x="5941270" y="5048441"/>
                  <a:pt x="5948617" y="5037104"/>
                  <a:pt x="5956961" y="5030438"/>
                </a:cubicBezTo>
                <a:cubicBezTo>
                  <a:pt x="5967979" y="5013430"/>
                  <a:pt x="5980995" y="5005766"/>
                  <a:pt x="5991015" y="4984087"/>
                </a:cubicBezTo>
                <a:cubicBezTo>
                  <a:pt x="5994689" y="4978418"/>
                  <a:pt x="6003035" y="4971752"/>
                  <a:pt x="6003035" y="4971752"/>
                </a:cubicBezTo>
                <a:cubicBezTo>
                  <a:pt x="6006707" y="4966084"/>
                  <a:pt x="6011377" y="4965085"/>
                  <a:pt x="6010379" y="4960413"/>
                </a:cubicBezTo>
                <a:cubicBezTo>
                  <a:pt x="6015051" y="4959416"/>
                  <a:pt x="6015051" y="4959416"/>
                  <a:pt x="6018723" y="4953747"/>
                </a:cubicBezTo>
                <a:cubicBezTo>
                  <a:pt x="6017726" y="4949076"/>
                  <a:pt x="6026070" y="4942409"/>
                  <a:pt x="6029744" y="4936740"/>
                </a:cubicBezTo>
                <a:cubicBezTo>
                  <a:pt x="6030741" y="4941410"/>
                  <a:pt x="6041761" y="4924404"/>
                  <a:pt x="6041761" y="4924404"/>
                </a:cubicBezTo>
                <a:cubicBezTo>
                  <a:pt x="6045433" y="4918735"/>
                  <a:pt x="6049105" y="4913067"/>
                  <a:pt x="6048109" y="4908395"/>
                </a:cubicBezTo>
                <a:cubicBezTo>
                  <a:pt x="6052779" y="4907398"/>
                  <a:pt x="6052779" y="4907398"/>
                  <a:pt x="6052779" y="4907398"/>
                </a:cubicBezTo>
                <a:cubicBezTo>
                  <a:pt x="6092505" y="4864720"/>
                  <a:pt x="6137579" y="4801364"/>
                  <a:pt x="6166964" y="4756012"/>
                </a:cubicBezTo>
                <a:cubicBezTo>
                  <a:pt x="6171634" y="4755014"/>
                  <a:pt x="6171634" y="4755014"/>
                  <a:pt x="6171634" y="4755014"/>
                </a:cubicBezTo>
                <a:cubicBezTo>
                  <a:pt x="6171634" y="4755014"/>
                  <a:pt x="6171634" y="4755014"/>
                  <a:pt x="6176307" y="4754017"/>
                </a:cubicBezTo>
                <a:cubicBezTo>
                  <a:pt x="6172633" y="4759686"/>
                  <a:pt x="6172633" y="4759686"/>
                  <a:pt x="6168961" y="4765354"/>
                </a:cubicBezTo>
                <a:cubicBezTo>
                  <a:pt x="6168961" y="4765354"/>
                  <a:pt x="6165287" y="4771023"/>
                  <a:pt x="6161614" y="4776693"/>
                </a:cubicBezTo>
                <a:cubicBezTo>
                  <a:pt x="6157940" y="4782362"/>
                  <a:pt x="6157940" y="4782362"/>
                  <a:pt x="6154269" y="4788031"/>
                </a:cubicBezTo>
                <a:cubicBezTo>
                  <a:pt x="6154269" y="4788031"/>
                  <a:pt x="6154269" y="4788031"/>
                  <a:pt x="6155266" y="4792702"/>
                </a:cubicBezTo>
                <a:cubicBezTo>
                  <a:pt x="6146921" y="4799369"/>
                  <a:pt x="6144247" y="4809709"/>
                  <a:pt x="6136901" y="4821047"/>
                </a:cubicBezTo>
                <a:cubicBezTo>
                  <a:pt x="6136901" y="4821047"/>
                  <a:pt x="6133227" y="4826715"/>
                  <a:pt x="6137897" y="4825717"/>
                </a:cubicBezTo>
                <a:cubicBezTo>
                  <a:pt x="6138897" y="4830389"/>
                  <a:pt x="6142571" y="4824719"/>
                  <a:pt x="6142571" y="4824719"/>
                </a:cubicBezTo>
                <a:cubicBezTo>
                  <a:pt x="6146243" y="4819049"/>
                  <a:pt x="6146243" y="4819049"/>
                  <a:pt x="6146243" y="4819049"/>
                </a:cubicBezTo>
                <a:cubicBezTo>
                  <a:pt x="6146243" y="4819049"/>
                  <a:pt x="6150913" y="4818052"/>
                  <a:pt x="6149915" y="4813382"/>
                </a:cubicBezTo>
                <a:cubicBezTo>
                  <a:pt x="6153588" y="4807712"/>
                  <a:pt x="6153588" y="4807712"/>
                  <a:pt x="6153588" y="4807712"/>
                </a:cubicBezTo>
                <a:cubicBezTo>
                  <a:pt x="6152591" y="4803042"/>
                  <a:pt x="6157262" y="4802043"/>
                  <a:pt x="6160935" y="4796376"/>
                </a:cubicBezTo>
                <a:cubicBezTo>
                  <a:pt x="6157262" y="4802043"/>
                  <a:pt x="6153192" y="4808713"/>
                  <a:pt x="6149207" y="4815058"/>
                </a:cubicBezTo>
                <a:lnTo>
                  <a:pt x="6138972" y="4830325"/>
                </a:lnTo>
                <a:lnTo>
                  <a:pt x="6138897" y="4830389"/>
                </a:lnTo>
                <a:lnTo>
                  <a:pt x="6138892" y="4830440"/>
                </a:lnTo>
                <a:lnTo>
                  <a:pt x="6137977" y="4831806"/>
                </a:lnTo>
                <a:cubicBezTo>
                  <a:pt x="6131301" y="4840559"/>
                  <a:pt x="6126879" y="4842724"/>
                  <a:pt x="6128557" y="4827713"/>
                </a:cubicBezTo>
                <a:cubicBezTo>
                  <a:pt x="6115859" y="4859731"/>
                  <a:pt x="6107514" y="4866397"/>
                  <a:pt x="6092823" y="4889075"/>
                </a:cubicBezTo>
                <a:cubicBezTo>
                  <a:pt x="6097494" y="4888076"/>
                  <a:pt x="6097494" y="4888076"/>
                  <a:pt x="6097494" y="4888076"/>
                </a:cubicBezTo>
                <a:cubicBezTo>
                  <a:pt x="6086475" y="4905082"/>
                  <a:pt x="6086475" y="4905082"/>
                  <a:pt x="6086475" y="4905082"/>
                </a:cubicBezTo>
                <a:cubicBezTo>
                  <a:pt x="6081803" y="4906081"/>
                  <a:pt x="6081803" y="4906081"/>
                  <a:pt x="6081803" y="4906081"/>
                </a:cubicBezTo>
                <a:cubicBezTo>
                  <a:pt x="6082802" y="4910751"/>
                  <a:pt x="6082802" y="4910751"/>
                  <a:pt x="6082802" y="4910751"/>
                </a:cubicBezTo>
                <a:cubicBezTo>
                  <a:pt x="6078133" y="4911750"/>
                  <a:pt x="6078133" y="4911750"/>
                  <a:pt x="6078133" y="4911750"/>
                </a:cubicBezTo>
                <a:cubicBezTo>
                  <a:pt x="6074459" y="4917418"/>
                  <a:pt x="6075455" y="4922090"/>
                  <a:pt x="6070785" y="4923087"/>
                </a:cubicBezTo>
                <a:cubicBezTo>
                  <a:pt x="6071783" y="4927760"/>
                  <a:pt x="6067111" y="4928757"/>
                  <a:pt x="6068109" y="4933427"/>
                </a:cubicBezTo>
                <a:cubicBezTo>
                  <a:pt x="6063438" y="4934426"/>
                  <a:pt x="6064437" y="4939097"/>
                  <a:pt x="6064437" y="4939097"/>
                </a:cubicBezTo>
                <a:cubicBezTo>
                  <a:pt x="6060764" y="4944766"/>
                  <a:pt x="6057090" y="4950434"/>
                  <a:pt x="6053416" y="4956103"/>
                </a:cubicBezTo>
                <a:cubicBezTo>
                  <a:pt x="6054415" y="4960774"/>
                  <a:pt x="6054415" y="4960774"/>
                  <a:pt x="6054415" y="4960774"/>
                </a:cubicBezTo>
                <a:cubicBezTo>
                  <a:pt x="6054415" y="4960774"/>
                  <a:pt x="6049743" y="4961772"/>
                  <a:pt x="6050743" y="4966443"/>
                </a:cubicBezTo>
                <a:cubicBezTo>
                  <a:pt x="6038725" y="4978779"/>
                  <a:pt x="6027705" y="4995785"/>
                  <a:pt x="6016685" y="5012793"/>
                </a:cubicBezTo>
                <a:cubicBezTo>
                  <a:pt x="6015687" y="5008121"/>
                  <a:pt x="6015687" y="5008121"/>
                  <a:pt x="6011017" y="5009120"/>
                </a:cubicBezTo>
                <a:cubicBezTo>
                  <a:pt x="6014690" y="5003451"/>
                  <a:pt x="6014690" y="5003451"/>
                  <a:pt x="6014690" y="5003451"/>
                </a:cubicBezTo>
                <a:cubicBezTo>
                  <a:pt x="6019361" y="5002453"/>
                  <a:pt x="6018363" y="4997783"/>
                  <a:pt x="6018363" y="4997783"/>
                </a:cubicBezTo>
                <a:cubicBezTo>
                  <a:pt x="6018363" y="4997783"/>
                  <a:pt x="6013693" y="4998780"/>
                  <a:pt x="6013693" y="4998780"/>
                </a:cubicBezTo>
                <a:cubicBezTo>
                  <a:pt x="6010020" y="5004450"/>
                  <a:pt x="6010020" y="5004450"/>
                  <a:pt x="6010020" y="5004450"/>
                </a:cubicBezTo>
                <a:cubicBezTo>
                  <a:pt x="6010020" y="5004450"/>
                  <a:pt x="6006346" y="5010117"/>
                  <a:pt x="6006346" y="5010117"/>
                </a:cubicBezTo>
                <a:cubicBezTo>
                  <a:pt x="6007345" y="5014789"/>
                  <a:pt x="6007345" y="5014789"/>
                  <a:pt x="6007345" y="5014789"/>
                </a:cubicBezTo>
                <a:cubicBezTo>
                  <a:pt x="6007345" y="5014789"/>
                  <a:pt x="6007345" y="5014789"/>
                  <a:pt x="6008343" y="5019460"/>
                </a:cubicBezTo>
                <a:cubicBezTo>
                  <a:pt x="5996325" y="5031796"/>
                  <a:pt x="5985305" y="5048802"/>
                  <a:pt x="5973287" y="5061138"/>
                </a:cubicBezTo>
                <a:cubicBezTo>
                  <a:pt x="5973287" y="5061138"/>
                  <a:pt x="5973287" y="5061138"/>
                  <a:pt x="5974287" y="5065808"/>
                </a:cubicBezTo>
                <a:cubicBezTo>
                  <a:pt x="5946578" y="5096150"/>
                  <a:pt x="5923543" y="5125493"/>
                  <a:pt x="5894837" y="5151162"/>
                </a:cubicBezTo>
                <a:cubicBezTo>
                  <a:pt x="5859782" y="5192842"/>
                  <a:pt x="5823731" y="5229849"/>
                  <a:pt x="5783008" y="5267853"/>
                </a:cubicBezTo>
                <a:cubicBezTo>
                  <a:pt x="5774664" y="5274520"/>
                  <a:pt x="5756977" y="5283184"/>
                  <a:pt x="5758973" y="5292525"/>
                </a:cubicBezTo>
                <a:cubicBezTo>
                  <a:pt x="5758973" y="5292525"/>
                  <a:pt x="5758973" y="5292525"/>
                  <a:pt x="5754302" y="5293524"/>
                </a:cubicBezTo>
                <a:cubicBezTo>
                  <a:pt x="5749632" y="5294521"/>
                  <a:pt x="5745958" y="5300190"/>
                  <a:pt x="5741289" y="5301187"/>
                </a:cubicBezTo>
                <a:cubicBezTo>
                  <a:pt x="5741289" y="5301187"/>
                  <a:pt x="5737613" y="5306857"/>
                  <a:pt x="5737613" y="5306857"/>
                </a:cubicBezTo>
                <a:cubicBezTo>
                  <a:pt x="5737613" y="5306857"/>
                  <a:pt x="5742285" y="5305858"/>
                  <a:pt x="5742285" y="5305858"/>
                </a:cubicBezTo>
                <a:cubicBezTo>
                  <a:pt x="5721925" y="5324862"/>
                  <a:pt x="5701562" y="5343864"/>
                  <a:pt x="5681201" y="5362868"/>
                </a:cubicBezTo>
                <a:cubicBezTo>
                  <a:pt x="5632136" y="5407539"/>
                  <a:pt x="5632136" y="5407539"/>
                  <a:pt x="5632136" y="5407539"/>
                </a:cubicBezTo>
                <a:cubicBezTo>
                  <a:pt x="5615447" y="5420874"/>
                  <a:pt x="5615447" y="5420874"/>
                  <a:pt x="5615447" y="5420874"/>
                </a:cubicBezTo>
                <a:cubicBezTo>
                  <a:pt x="5607101" y="5427540"/>
                  <a:pt x="5585743" y="5441872"/>
                  <a:pt x="5569055" y="5455206"/>
                </a:cubicBezTo>
                <a:cubicBezTo>
                  <a:pt x="5548693" y="5474208"/>
                  <a:pt x="5532003" y="5487543"/>
                  <a:pt x="5536677" y="5486546"/>
                </a:cubicBezTo>
                <a:cubicBezTo>
                  <a:pt x="5478267" y="5533212"/>
                  <a:pt x="5419857" y="5579880"/>
                  <a:pt x="5347435" y="5629544"/>
                </a:cubicBezTo>
                <a:cubicBezTo>
                  <a:pt x="5308391" y="5652537"/>
                  <a:pt x="5238643" y="5691859"/>
                  <a:pt x="5192251" y="5726192"/>
                </a:cubicBezTo>
                <a:cubicBezTo>
                  <a:pt x="5138196" y="5747510"/>
                  <a:pt x="5087133" y="5782839"/>
                  <a:pt x="5029405" y="5809826"/>
                </a:cubicBezTo>
                <a:cubicBezTo>
                  <a:pt x="5021059" y="5816493"/>
                  <a:pt x="5020060" y="5811822"/>
                  <a:pt x="5011718" y="5818489"/>
                </a:cubicBezTo>
                <a:cubicBezTo>
                  <a:pt x="4904601" y="5865795"/>
                  <a:pt x="4795491" y="5903758"/>
                  <a:pt x="4685383" y="5937051"/>
                </a:cubicBezTo>
                <a:cubicBezTo>
                  <a:pt x="4627991" y="5954197"/>
                  <a:pt x="4571271" y="5968757"/>
                  <a:pt x="4514510" y="5980274"/>
                </a:cubicBezTo>
                <a:lnTo>
                  <a:pt x="4434660" y="5991919"/>
                </a:lnTo>
                <a:lnTo>
                  <a:pt x="4450453" y="5989074"/>
                </a:lnTo>
                <a:cubicBezTo>
                  <a:pt x="4468429" y="5984623"/>
                  <a:pt x="4484527" y="5979963"/>
                  <a:pt x="4493869" y="5977967"/>
                </a:cubicBezTo>
                <a:cubicBezTo>
                  <a:pt x="4493869" y="5977967"/>
                  <a:pt x="4498541" y="5976969"/>
                  <a:pt x="4498541" y="5976969"/>
                </a:cubicBezTo>
                <a:cubicBezTo>
                  <a:pt x="4549921" y="5965993"/>
                  <a:pt x="4587289" y="5958008"/>
                  <a:pt x="4637673" y="5942359"/>
                </a:cubicBezTo>
                <a:cubicBezTo>
                  <a:pt x="4642343" y="5941362"/>
                  <a:pt x="4642343" y="5941362"/>
                  <a:pt x="4642343" y="5941362"/>
                </a:cubicBezTo>
                <a:cubicBezTo>
                  <a:pt x="4647017" y="5940363"/>
                  <a:pt x="4647017" y="5940363"/>
                  <a:pt x="4646017" y="5935692"/>
                </a:cubicBezTo>
                <a:cubicBezTo>
                  <a:pt x="4641346" y="5936690"/>
                  <a:pt x="4636675" y="5937688"/>
                  <a:pt x="4636675" y="5937688"/>
                </a:cubicBezTo>
                <a:cubicBezTo>
                  <a:pt x="4637673" y="5942359"/>
                  <a:pt x="4637673" y="5942359"/>
                  <a:pt x="4637673" y="5942359"/>
                </a:cubicBezTo>
                <a:cubicBezTo>
                  <a:pt x="4581622" y="5954334"/>
                  <a:pt x="4548924" y="5961320"/>
                  <a:pt x="4497543" y="5972298"/>
                </a:cubicBezTo>
                <a:cubicBezTo>
                  <a:pt x="4501215" y="5966629"/>
                  <a:pt x="4496545" y="5967627"/>
                  <a:pt x="4490875" y="5963954"/>
                </a:cubicBezTo>
                <a:cubicBezTo>
                  <a:pt x="4486203" y="5964951"/>
                  <a:pt x="4486203" y="5964951"/>
                  <a:pt x="4486203" y="5964951"/>
                </a:cubicBezTo>
                <a:cubicBezTo>
                  <a:pt x="4487203" y="5969623"/>
                  <a:pt x="4487203" y="5969623"/>
                  <a:pt x="4487203" y="5969623"/>
                </a:cubicBezTo>
                <a:cubicBezTo>
                  <a:pt x="4446161" y="5983274"/>
                  <a:pt x="4400129" y="5973572"/>
                  <a:pt x="4389111" y="5990578"/>
                </a:cubicBezTo>
                <a:cubicBezTo>
                  <a:pt x="4390107" y="5995251"/>
                  <a:pt x="4390107" y="5995251"/>
                  <a:pt x="4390107" y="5995251"/>
                </a:cubicBezTo>
                <a:cubicBezTo>
                  <a:pt x="4384439" y="5991577"/>
                  <a:pt x="4375097" y="5993573"/>
                  <a:pt x="4370427" y="5994571"/>
                </a:cubicBezTo>
                <a:cubicBezTo>
                  <a:pt x="4365755" y="5995569"/>
                  <a:pt x="4361085" y="5996567"/>
                  <a:pt x="4361085" y="5996567"/>
                </a:cubicBezTo>
                <a:cubicBezTo>
                  <a:pt x="4360087" y="5991897"/>
                  <a:pt x="4358091" y="5982554"/>
                  <a:pt x="4361763" y="5976885"/>
                </a:cubicBezTo>
                <a:cubicBezTo>
                  <a:pt x="4366434" y="5975888"/>
                  <a:pt x="4375777" y="5973892"/>
                  <a:pt x="4380447" y="5972893"/>
                </a:cubicBezTo>
                <a:cubicBezTo>
                  <a:pt x="4389789" y="5970899"/>
                  <a:pt x="4400129" y="5973572"/>
                  <a:pt x="4408475" y="5966906"/>
                </a:cubicBezTo>
                <a:cubicBezTo>
                  <a:pt x="4408475" y="5966906"/>
                  <a:pt x="4413145" y="5965908"/>
                  <a:pt x="4413145" y="5965908"/>
                </a:cubicBezTo>
                <a:cubicBezTo>
                  <a:pt x="4413145" y="5965908"/>
                  <a:pt x="4413145" y="5965908"/>
                  <a:pt x="4417816" y="5964910"/>
                </a:cubicBezTo>
                <a:cubicBezTo>
                  <a:pt x="4422487" y="5963913"/>
                  <a:pt x="4422487" y="5963913"/>
                  <a:pt x="4427159" y="5962914"/>
                </a:cubicBezTo>
                <a:cubicBezTo>
                  <a:pt x="4431829" y="5961917"/>
                  <a:pt x="4431829" y="5961917"/>
                  <a:pt x="4431829" y="5961917"/>
                </a:cubicBezTo>
                <a:cubicBezTo>
                  <a:pt x="4431829" y="5961917"/>
                  <a:pt x="4430831" y="5957245"/>
                  <a:pt x="4426161" y="5958243"/>
                </a:cubicBezTo>
                <a:cubicBezTo>
                  <a:pt x="4421489" y="5959242"/>
                  <a:pt x="4416819" y="5960239"/>
                  <a:pt x="4416819" y="5960239"/>
                </a:cubicBezTo>
                <a:cubicBezTo>
                  <a:pt x="4412147" y="5961238"/>
                  <a:pt x="4412147" y="5961238"/>
                  <a:pt x="4412147" y="5961238"/>
                </a:cubicBezTo>
                <a:cubicBezTo>
                  <a:pt x="4415820" y="5955568"/>
                  <a:pt x="4411149" y="5956566"/>
                  <a:pt x="4411149" y="5956566"/>
                </a:cubicBezTo>
                <a:cubicBezTo>
                  <a:pt x="4406479" y="5957564"/>
                  <a:pt x="4406479" y="5957564"/>
                  <a:pt x="4406479" y="5957564"/>
                </a:cubicBezTo>
                <a:cubicBezTo>
                  <a:pt x="4406479" y="5957564"/>
                  <a:pt x="4401807" y="5958561"/>
                  <a:pt x="4401807" y="5958561"/>
                </a:cubicBezTo>
                <a:cubicBezTo>
                  <a:pt x="4402805" y="5963232"/>
                  <a:pt x="4402805" y="5963232"/>
                  <a:pt x="4402805" y="5963232"/>
                </a:cubicBezTo>
                <a:cubicBezTo>
                  <a:pt x="4399132" y="5968902"/>
                  <a:pt x="4388792" y="5966227"/>
                  <a:pt x="4379449" y="5968223"/>
                </a:cubicBezTo>
                <a:cubicBezTo>
                  <a:pt x="4374779" y="5969221"/>
                  <a:pt x="4370107" y="5970218"/>
                  <a:pt x="4360765" y="5972214"/>
                </a:cubicBezTo>
                <a:cubicBezTo>
                  <a:pt x="4332741" y="5978202"/>
                  <a:pt x="4332741" y="5978202"/>
                  <a:pt x="4332741" y="5978202"/>
                </a:cubicBezTo>
                <a:cubicBezTo>
                  <a:pt x="4327071" y="5974530"/>
                  <a:pt x="4328067" y="5979200"/>
                  <a:pt x="4328067" y="5979200"/>
                </a:cubicBezTo>
                <a:cubicBezTo>
                  <a:pt x="4328067" y="5979200"/>
                  <a:pt x="4329067" y="5983871"/>
                  <a:pt x="4333738" y="5982874"/>
                </a:cubicBezTo>
                <a:cubicBezTo>
                  <a:pt x="4352421" y="5978882"/>
                  <a:pt x="4352421" y="5978882"/>
                  <a:pt x="4352421" y="5978882"/>
                </a:cubicBezTo>
                <a:cubicBezTo>
                  <a:pt x="4348747" y="5984549"/>
                  <a:pt x="4346073" y="5994892"/>
                  <a:pt x="4347071" y="5999562"/>
                </a:cubicBezTo>
                <a:cubicBezTo>
                  <a:pt x="4342400" y="6000559"/>
                  <a:pt x="4337729" y="6001556"/>
                  <a:pt x="4337729" y="6001556"/>
                </a:cubicBezTo>
                <a:cubicBezTo>
                  <a:pt x="4333057" y="6002555"/>
                  <a:pt x="4333057" y="6002555"/>
                  <a:pt x="4333057" y="6002555"/>
                </a:cubicBezTo>
                <a:cubicBezTo>
                  <a:pt x="4336731" y="5996886"/>
                  <a:pt x="4336731" y="5996886"/>
                  <a:pt x="4336731" y="5996886"/>
                </a:cubicBezTo>
                <a:cubicBezTo>
                  <a:pt x="4336731" y="5996886"/>
                  <a:pt x="4332060" y="5997884"/>
                  <a:pt x="4331061" y="5993214"/>
                </a:cubicBezTo>
                <a:cubicBezTo>
                  <a:pt x="4326391" y="5994211"/>
                  <a:pt x="4327390" y="5998882"/>
                  <a:pt x="4322719" y="5999880"/>
                </a:cubicBezTo>
                <a:cubicBezTo>
                  <a:pt x="4322719" y="5999880"/>
                  <a:pt x="4318046" y="6000879"/>
                  <a:pt x="4318046" y="6000879"/>
                </a:cubicBezTo>
                <a:cubicBezTo>
                  <a:pt x="4313376" y="6001876"/>
                  <a:pt x="4307707" y="5998202"/>
                  <a:pt x="4298365" y="6000199"/>
                </a:cubicBezTo>
                <a:cubicBezTo>
                  <a:pt x="4279681" y="6004190"/>
                  <a:pt x="4302039" y="5994529"/>
                  <a:pt x="4287027" y="5992853"/>
                </a:cubicBezTo>
                <a:cubicBezTo>
                  <a:pt x="4279681" y="6004190"/>
                  <a:pt x="4263672" y="5997842"/>
                  <a:pt x="4253332" y="5995167"/>
                </a:cubicBezTo>
                <a:cubicBezTo>
                  <a:pt x="4254329" y="5999839"/>
                  <a:pt x="4255329" y="6004508"/>
                  <a:pt x="4250657" y="6005506"/>
                </a:cubicBezTo>
                <a:cubicBezTo>
                  <a:pt x="4249659" y="6000836"/>
                  <a:pt x="4248661" y="5996165"/>
                  <a:pt x="4243989" y="5997163"/>
                </a:cubicBezTo>
                <a:cubicBezTo>
                  <a:pt x="4240317" y="6002832"/>
                  <a:pt x="4226303" y="6005825"/>
                  <a:pt x="4216961" y="6007822"/>
                </a:cubicBezTo>
                <a:cubicBezTo>
                  <a:pt x="4219637" y="5997482"/>
                  <a:pt x="4186939" y="6004467"/>
                  <a:pt x="4183267" y="6010136"/>
                </a:cubicBezTo>
                <a:cubicBezTo>
                  <a:pt x="4178595" y="6011135"/>
                  <a:pt x="4178595" y="6011135"/>
                  <a:pt x="4178595" y="6011135"/>
                </a:cubicBezTo>
                <a:cubicBezTo>
                  <a:pt x="4164583" y="6014128"/>
                  <a:pt x="4176599" y="6001792"/>
                  <a:pt x="4162587" y="6004786"/>
                </a:cubicBezTo>
                <a:cubicBezTo>
                  <a:pt x="4154243" y="6011453"/>
                  <a:pt x="4150570" y="6017122"/>
                  <a:pt x="4126216" y="6017440"/>
                </a:cubicBezTo>
                <a:cubicBezTo>
                  <a:pt x="4115876" y="6014765"/>
                  <a:pt x="4100865" y="6013088"/>
                  <a:pt x="4086851" y="6016083"/>
                </a:cubicBezTo>
                <a:cubicBezTo>
                  <a:pt x="4082181" y="6017080"/>
                  <a:pt x="4072838" y="6019077"/>
                  <a:pt x="4067171" y="6015403"/>
                </a:cubicBezTo>
                <a:cubicBezTo>
                  <a:pt x="4038144" y="6016720"/>
                  <a:pt x="4061501" y="6011729"/>
                  <a:pt x="4040821" y="6006380"/>
                </a:cubicBezTo>
                <a:cubicBezTo>
                  <a:pt x="4024132" y="6019713"/>
                  <a:pt x="3962092" y="6003663"/>
                  <a:pt x="3944405" y="6012325"/>
                </a:cubicBezTo>
                <a:cubicBezTo>
                  <a:pt x="3965085" y="6017676"/>
                  <a:pt x="3925723" y="6016317"/>
                  <a:pt x="3925723" y="6016317"/>
                </a:cubicBezTo>
                <a:cubicBezTo>
                  <a:pt x="3921050" y="6017316"/>
                  <a:pt x="3916380" y="6018314"/>
                  <a:pt x="3911709" y="6019311"/>
                </a:cubicBezTo>
                <a:cubicBezTo>
                  <a:pt x="3852664" y="6017274"/>
                  <a:pt x="3818969" y="6019588"/>
                  <a:pt x="3784954" y="5997550"/>
                </a:cubicBezTo>
                <a:cubicBezTo>
                  <a:pt x="3782279" y="6007888"/>
                  <a:pt x="3744593" y="5991520"/>
                  <a:pt x="3731576" y="5999185"/>
                </a:cubicBezTo>
                <a:cubicBezTo>
                  <a:pt x="3741917" y="6001860"/>
                  <a:pt x="3706225" y="5994832"/>
                  <a:pt x="3701555" y="5995831"/>
                </a:cubicBezTo>
                <a:cubicBezTo>
                  <a:pt x="3701555" y="5995831"/>
                  <a:pt x="3706225" y="5994832"/>
                  <a:pt x="3706225" y="5994832"/>
                </a:cubicBezTo>
                <a:cubicBezTo>
                  <a:pt x="3667859" y="5998145"/>
                  <a:pt x="3636839" y="5990119"/>
                  <a:pt x="3591805" y="5985087"/>
                </a:cubicBezTo>
                <a:cubicBezTo>
                  <a:pt x="3603144" y="5992434"/>
                  <a:pt x="3575797" y="5978739"/>
                  <a:pt x="3573122" y="5989079"/>
                </a:cubicBezTo>
                <a:cubicBezTo>
                  <a:pt x="3571125" y="5979738"/>
                  <a:pt x="3553439" y="5988402"/>
                  <a:pt x="3537430" y="5982053"/>
                </a:cubicBezTo>
                <a:cubicBezTo>
                  <a:pt x="3557113" y="5982733"/>
                  <a:pt x="3542781" y="5961373"/>
                  <a:pt x="3541104" y="5976384"/>
                </a:cubicBezTo>
                <a:cubicBezTo>
                  <a:pt x="3512081" y="5977701"/>
                  <a:pt x="3484733" y="5964007"/>
                  <a:pt x="3465050" y="5963328"/>
                </a:cubicBezTo>
                <a:cubicBezTo>
                  <a:pt x="3476388" y="5970674"/>
                  <a:pt x="3445368" y="5962647"/>
                  <a:pt x="3430358" y="5960971"/>
                </a:cubicBezTo>
                <a:cubicBezTo>
                  <a:pt x="3430358" y="5960971"/>
                  <a:pt x="3435029" y="5959972"/>
                  <a:pt x="3439699" y="5958974"/>
                </a:cubicBezTo>
                <a:cubicBezTo>
                  <a:pt x="3404008" y="5951948"/>
                  <a:pt x="3384325" y="5951268"/>
                  <a:pt x="3363648" y="5945918"/>
                </a:cubicBezTo>
                <a:cubicBezTo>
                  <a:pt x="3342967" y="5940568"/>
                  <a:pt x="3323285" y="5939888"/>
                  <a:pt x="3280927" y="5924516"/>
                </a:cubicBezTo>
                <a:cubicBezTo>
                  <a:pt x="3280927" y="5924516"/>
                  <a:pt x="3290268" y="5922520"/>
                  <a:pt x="3275257" y="5920844"/>
                </a:cubicBezTo>
                <a:cubicBezTo>
                  <a:pt x="3260247" y="5919166"/>
                  <a:pt x="3281924" y="5929188"/>
                  <a:pt x="3261244" y="5923839"/>
                </a:cubicBezTo>
                <a:cubicBezTo>
                  <a:pt x="3244238" y="5912818"/>
                  <a:pt x="3229227" y="5911142"/>
                  <a:pt x="3215214" y="5914135"/>
                </a:cubicBezTo>
                <a:cubicBezTo>
                  <a:pt x="3202877" y="5902119"/>
                  <a:pt x="3203875" y="5906789"/>
                  <a:pt x="3201879" y="5897447"/>
                </a:cubicBezTo>
                <a:cubicBezTo>
                  <a:pt x="3192538" y="5899442"/>
                  <a:pt x="3187867" y="5900441"/>
                  <a:pt x="3172855" y="5898763"/>
                </a:cubicBezTo>
                <a:cubicBezTo>
                  <a:pt x="3171857" y="5894093"/>
                  <a:pt x="3182197" y="5896768"/>
                  <a:pt x="3171857" y="5894093"/>
                </a:cubicBezTo>
                <a:cubicBezTo>
                  <a:pt x="3152175" y="5893412"/>
                  <a:pt x="3128502" y="5874051"/>
                  <a:pt x="3099478" y="5875367"/>
                </a:cubicBezTo>
                <a:cubicBezTo>
                  <a:pt x="3097482" y="5866024"/>
                  <a:pt x="3114489" y="5877044"/>
                  <a:pt x="3119159" y="5876046"/>
                </a:cubicBezTo>
                <a:cubicBezTo>
                  <a:pt x="3096485" y="5861354"/>
                  <a:pt x="3073128" y="5866344"/>
                  <a:pt x="3059795" y="5849654"/>
                </a:cubicBezTo>
                <a:cubicBezTo>
                  <a:pt x="3050452" y="5851652"/>
                  <a:pt x="3072131" y="5861672"/>
                  <a:pt x="3056122" y="5855324"/>
                </a:cubicBezTo>
                <a:cubicBezTo>
                  <a:pt x="3060792" y="5854327"/>
                  <a:pt x="3054124" y="5845982"/>
                  <a:pt x="3039115" y="5844305"/>
                </a:cubicBezTo>
                <a:cubicBezTo>
                  <a:pt x="3026099" y="5851970"/>
                  <a:pt x="3001427" y="5827936"/>
                  <a:pt x="3003423" y="5837278"/>
                </a:cubicBezTo>
                <a:cubicBezTo>
                  <a:pt x="2997755" y="5833604"/>
                  <a:pt x="2992086" y="5829932"/>
                  <a:pt x="2986416" y="5826258"/>
                </a:cubicBezTo>
                <a:cubicBezTo>
                  <a:pt x="2986416" y="5826258"/>
                  <a:pt x="2986416" y="5826258"/>
                  <a:pt x="2981746" y="5827257"/>
                </a:cubicBezTo>
                <a:cubicBezTo>
                  <a:pt x="2987413" y="5830929"/>
                  <a:pt x="2993083" y="5834603"/>
                  <a:pt x="2993083" y="5834603"/>
                </a:cubicBezTo>
                <a:cubicBezTo>
                  <a:pt x="2978073" y="5832925"/>
                  <a:pt x="2965737" y="5820909"/>
                  <a:pt x="2953401" y="5808891"/>
                </a:cubicBezTo>
                <a:cubicBezTo>
                  <a:pt x="2949727" y="5814561"/>
                  <a:pt x="2944059" y="5810887"/>
                  <a:pt x="2937391" y="5802543"/>
                </a:cubicBezTo>
                <a:cubicBezTo>
                  <a:pt x="2928048" y="5804539"/>
                  <a:pt x="2934716" y="5812883"/>
                  <a:pt x="2940386" y="5816557"/>
                </a:cubicBezTo>
                <a:cubicBezTo>
                  <a:pt x="2935713" y="5817555"/>
                  <a:pt x="2935713" y="5817555"/>
                  <a:pt x="2935713" y="5817555"/>
                </a:cubicBezTo>
                <a:cubicBezTo>
                  <a:pt x="2929046" y="5809211"/>
                  <a:pt x="2903696" y="5804858"/>
                  <a:pt x="2902699" y="5800186"/>
                </a:cubicBezTo>
                <a:cubicBezTo>
                  <a:pt x="2901701" y="5795516"/>
                  <a:pt x="2901701" y="5795516"/>
                  <a:pt x="2901701" y="5795516"/>
                </a:cubicBezTo>
                <a:cubicBezTo>
                  <a:pt x="2907370" y="5799188"/>
                  <a:pt x="2912041" y="5798190"/>
                  <a:pt x="2912041" y="5798190"/>
                </a:cubicBezTo>
                <a:cubicBezTo>
                  <a:pt x="2917710" y="5801864"/>
                  <a:pt x="2917710" y="5801864"/>
                  <a:pt x="2917710" y="5801864"/>
                </a:cubicBezTo>
                <a:cubicBezTo>
                  <a:pt x="2922381" y="5800865"/>
                  <a:pt x="2916711" y="5797193"/>
                  <a:pt x="2916711" y="5797193"/>
                </a:cubicBezTo>
                <a:cubicBezTo>
                  <a:pt x="2911042" y="5793520"/>
                  <a:pt x="2905374" y="5789848"/>
                  <a:pt x="2900702" y="5790845"/>
                </a:cubicBezTo>
                <a:cubicBezTo>
                  <a:pt x="2904375" y="5785175"/>
                  <a:pt x="2854671" y="5781142"/>
                  <a:pt x="2878026" y="5776152"/>
                </a:cubicBezTo>
                <a:cubicBezTo>
                  <a:pt x="2863016" y="5774474"/>
                  <a:pt x="2847008" y="5768126"/>
                  <a:pt x="2830996" y="5761779"/>
                </a:cubicBezTo>
                <a:cubicBezTo>
                  <a:pt x="2819659" y="5754432"/>
                  <a:pt x="2808323" y="5747087"/>
                  <a:pt x="2802653" y="5743413"/>
                </a:cubicBezTo>
                <a:cubicBezTo>
                  <a:pt x="2801655" y="5738743"/>
                  <a:pt x="2801655" y="5738743"/>
                  <a:pt x="2796984" y="5739740"/>
                </a:cubicBezTo>
                <a:cubicBezTo>
                  <a:pt x="2796984" y="5739740"/>
                  <a:pt x="2795985" y="5735071"/>
                  <a:pt x="2792311" y="5740738"/>
                </a:cubicBezTo>
                <a:cubicBezTo>
                  <a:pt x="2769637" y="5726046"/>
                  <a:pt x="2729955" y="5700335"/>
                  <a:pt x="2707279" y="5685642"/>
                </a:cubicBezTo>
                <a:cubicBezTo>
                  <a:pt x="2695940" y="5678297"/>
                  <a:pt x="2688275" y="5665282"/>
                  <a:pt x="2676938" y="5657935"/>
                </a:cubicBezTo>
                <a:cubicBezTo>
                  <a:pt x="2624918" y="5620207"/>
                  <a:pt x="2565553" y="5593817"/>
                  <a:pt x="2520882" y="5544750"/>
                </a:cubicBezTo>
                <a:cubicBezTo>
                  <a:pt x="2467186" y="5522032"/>
                  <a:pt x="2439519" y="5483984"/>
                  <a:pt x="2389498" y="5455598"/>
                </a:cubicBezTo>
                <a:cubicBezTo>
                  <a:pt x="2396165" y="5463942"/>
                  <a:pt x="2402831" y="5472286"/>
                  <a:pt x="2399159" y="5477954"/>
                </a:cubicBezTo>
                <a:cubicBezTo>
                  <a:pt x="2382151" y="5466937"/>
                  <a:pt x="2376483" y="5463264"/>
                  <a:pt x="2364147" y="5451245"/>
                </a:cubicBezTo>
                <a:cubicBezTo>
                  <a:pt x="2358476" y="5447574"/>
                  <a:pt x="2352809" y="5443900"/>
                  <a:pt x="2347139" y="5440226"/>
                </a:cubicBezTo>
                <a:cubicBezTo>
                  <a:pt x="2346142" y="5435556"/>
                  <a:pt x="2344146" y="5426213"/>
                  <a:pt x="2345143" y="5430885"/>
                </a:cubicBezTo>
                <a:cubicBezTo>
                  <a:pt x="2338477" y="5422541"/>
                  <a:pt x="2339474" y="5427211"/>
                  <a:pt x="2340472" y="5431882"/>
                </a:cubicBezTo>
                <a:cubicBezTo>
                  <a:pt x="2305461" y="5405174"/>
                  <a:pt x="2318476" y="5397508"/>
                  <a:pt x="2322149" y="5391840"/>
                </a:cubicBezTo>
                <a:cubicBezTo>
                  <a:pt x="2321151" y="5387168"/>
                  <a:pt x="2321151" y="5387168"/>
                  <a:pt x="2315481" y="5383495"/>
                </a:cubicBezTo>
                <a:cubicBezTo>
                  <a:pt x="2315481" y="5383495"/>
                  <a:pt x="2313487" y="5374154"/>
                  <a:pt x="2309813" y="5379823"/>
                </a:cubicBezTo>
                <a:cubicBezTo>
                  <a:pt x="2309813" y="5379823"/>
                  <a:pt x="2308814" y="5375151"/>
                  <a:pt x="2304144" y="5376149"/>
                </a:cubicBezTo>
                <a:cubicBezTo>
                  <a:pt x="2311490" y="5364811"/>
                  <a:pt x="2289812" y="5354789"/>
                  <a:pt x="2280470" y="5356786"/>
                </a:cubicBezTo>
                <a:cubicBezTo>
                  <a:pt x="2279473" y="5352116"/>
                  <a:pt x="2274800" y="5353113"/>
                  <a:pt x="2274800" y="5353113"/>
                </a:cubicBezTo>
                <a:cubicBezTo>
                  <a:pt x="2270129" y="5354112"/>
                  <a:pt x="2270129" y="5354112"/>
                  <a:pt x="2275799" y="5357784"/>
                </a:cubicBezTo>
                <a:cubicBezTo>
                  <a:pt x="2276796" y="5362454"/>
                  <a:pt x="2282467" y="5366128"/>
                  <a:pt x="2282467" y="5366128"/>
                </a:cubicBezTo>
                <a:cubicBezTo>
                  <a:pt x="2278793" y="5371797"/>
                  <a:pt x="2254120" y="5347763"/>
                  <a:pt x="2258113" y="5366446"/>
                </a:cubicBezTo>
                <a:cubicBezTo>
                  <a:pt x="2257114" y="5361775"/>
                  <a:pt x="2257114" y="5361775"/>
                  <a:pt x="2257114" y="5361775"/>
                </a:cubicBezTo>
                <a:cubicBezTo>
                  <a:pt x="2238112" y="5341415"/>
                  <a:pt x="2187771" y="5288675"/>
                  <a:pt x="2230129" y="5304046"/>
                </a:cubicBezTo>
                <a:cubicBezTo>
                  <a:pt x="2229131" y="5299376"/>
                  <a:pt x="2229131" y="5299376"/>
                  <a:pt x="2224460" y="5300373"/>
                </a:cubicBezTo>
                <a:cubicBezTo>
                  <a:pt x="2223461" y="5295703"/>
                  <a:pt x="2223461" y="5295703"/>
                  <a:pt x="2223461" y="5295703"/>
                </a:cubicBezTo>
                <a:cubicBezTo>
                  <a:pt x="2210128" y="5279014"/>
                  <a:pt x="2198790" y="5271669"/>
                  <a:pt x="2184458" y="5250308"/>
                </a:cubicBezTo>
                <a:cubicBezTo>
                  <a:pt x="2181783" y="5260648"/>
                  <a:pt x="2161782" y="5235617"/>
                  <a:pt x="2156113" y="5231944"/>
                </a:cubicBezTo>
                <a:cubicBezTo>
                  <a:pt x="2156113" y="5231944"/>
                  <a:pt x="2156113" y="5231944"/>
                  <a:pt x="2155116" y="5227273"/>
                </a:cubicBezTo>
                <a:cubicBezTo>
                  <a:pt x="2155116" y="5227273"/>
                  <a:pt x="2150443" y="5228270"/>
                  <a:pt x="2150443" y="5228270"/>
                </a:cubicBezTo>
                <a:cubicBezTo>
                  <a:pt x="2144775" y="5224598"/>
                  <a:pt x="2144775" y="5224598"/>
                  <a:pt x="2139106" y="5220925"/>
                </a:cubicBezTo>
                <a:cubicBezTo>
                  <a:pt x="2140105" y="5225596"/>
                  <a:pt x="2140105" y="5225596"/>
                  <a:pt x="2140105" y="5225596"/>
                </a:cubicBezTo>
                <a:cubicBezTo>
                  <a:pt x="2145773" y="5229268"/>
                  <a:pt x="2145773" y="5229268"/>
                  <a:pt x="2146772" y="5233939"/>
                </a:cubicBezTo>
                <a:cubicBezTo>
                  <a:pt x="2146772" y="5233939"/>
                  <a:pt x="2136431" y="5231265"/>
                  <a:pt x="2129765" y="5222920"/>
                </a:cubicBezTo>
                <a:cubicBezTo>
                  <a:pt x="2124095" y="5219247"/>
                  <a:pt x="2112757" y="5211902"/>
                  <a:pt x="2109085" y="5217571"/>
                </a:cubicBezTo>
                <a:cubicBezTo>
                  <a:pt x="2107089" y="5208228"/>
                  <a:pt x="2100421" y="5199886"/>
                  <a:pt x="2093754" y="5191540"/>
                </a:cubicBezTo>
                <a:cubicBezTo>
                  <a:pt x="2098425" y="5190542"/>
                  <a:pt x="2098425" y="5190542"/>
                  <a:pt x="2098425" y="5190542"/>
                </a:cubicBezTo>
                <a:cubicBezTo>
                  <a:pt x="2097428" y="5185872"/>
                  <a:pt x="2097428" y="5185872"/>
                  <a:pt x="2097428" y="5185872"/>
                </a:cubicBezTo>
                <a:cubicBezTo>
                  <a:pt x="2097428" y="5185872"/>
                  <a:pt x="2096431" y="5181200"/>
                  <a:pt x="2091758" y="5182198"/>
                </a:cubicBezTo>
                <a:cubicBezTo>
                  <a:pt x="2090760" y="5177526"/>
                  <a:pt x="2085092" y="5173855"/>
                  <a:pt x="2084094" y="5169184"/>
                </a:cubicBezTo>
                <a:cubicBezTo>
                  <a:pt x="2079423" y="5170181"/>
                  <a:pt x="2078424" y="5165510"/>
                  <a:pt x="2078424" y="5165510"/>
                </a:cubicBezTo>
                <a:cubicBezTo>
                  <a:pt x="2071758" y="5157166"/>
                  <a:pt x="2070760" y="5152495"/>
                  <a:pt x="2074434" y="5146826"/>
                </a:cubicBezTo>
                <a:cubicBezTo>
                  <a:pt x="2082098" y="5159841"/>
                  <a:pt x="2088764" y="5168185"/>
                  <a:pt x="2093436" y="5167188"/>
                </a:cubicBezTo>
                <a:cubicBezTo>
                  <a:pt x="2086768" y="5158842"/>
                  <a:pt x="2091440" y="5157844"/>
                  <a:pt x="2090442" y="5153174"/>
                </a:cubicBezTo>
                <a:cubicBezTo>
                  <a:pt x="2084772" y="5149501"/>
                  <a:pt x="2083775" y="5144830"/>
                  <a:pt x="2078108" y="5141157"/>
                </a:cubicBezTo>
                <a:cubicBezTo>
                  <a:pt x="2061779" y="5110457"/>
                  <a:pt x="2038785" y="5071411"/>
                  <a:pt x="2013114" y="5042706"/>
                </a:cubicBezTo>
                <a:cubicBezTo>
                  <a:pt x="2000779" y="5030688"/>
                  <a:pt x="1982773" y="5014999"/>
                  <a:pt x="1971436" y="5007652"/>
                </a:cubicBezTo>
                <a:cubicBezTo>
                  <a:pt x="1970438" y="5002981"/>
                  <a:pt x="1970438" y="5002981"/>
                  <a:pt x="1975108" y="5001984"/>
                </a:cubicBezTo>
                <a:cubicBezTo>
                  <a:pt x="1974111" y="4997311"/>
                  <a:pt x="1974111" y="4997311"/>
                  <a:pt x="1968442" y="4993638"/>
                </a:cubicBezTo>
                <a:cubicBezTo>
                  <a:pt x="1967443" y="4988969"/>
                  <a:pt x="1962774" y="4989966"/>
                  <a:pt x="1962774" y="4989966"/>
                </a:cubicBezTo>
                <a:cubicBezTo>
                  <a:pt x="1962774" y="4989966"/>
                  <a:pt x="1963771" y="4994637"/>
                  <a:pt x="1963771" y="4994637"/>
                </a:cubicBezTo>
                <a:cubicBezTo>
                  <a:pt x="1958102" y="4990965"/>
                  <a:pt x="1957103" y="4986292"/>
                  <a:pt x="1951435" y="4982619"/>
                </a:cubicBezTo>
                <a:cubicBezTo>
                  <a:pt x="1951435" y="4982619"/>
                  <a:pt x="1950437" y="4977949"/>
                  <a:pt x="1955107" y="4976952"/>
                </a:cubicBezTo>
                <a:cubicBezTo>
                  <a:pt x="1942773" y="4964934"/>
                  <a:pt x="1930437" y="4952916"/>
                  <a:pt x="1923769" y="4944572"/>
                </a:cubicBezTo>
                <a:cubicBezTo>
                  <a:pt x="1923769" y="4944572"/>
                  <a:pt x="1923769" y="4944572"/>
                  <a:pt x="1922772" y="4939901"/>
                </a:cubicBezTo>
                <a:cubicBezTo>
                  <a:pt x="1922772" y="4939901"/>
                  <a:pt x="1918100" y="4940898"/>
                  <a:pt x="1918100" y="4940898"/>
                </a:cubicBezTo>
                <a:cubicBezTo>
                  <a:pt x="1913429" y="4941897"/>
                  <a:pt x="1913429" y="4941897"/>
                  <a:pt x="1913429" y="4941897"/>
                </a:cubicBezTo>
                <a:cubicBezTo>
                  <a:pt x="1913429" y="4941897"/>
                  <a:pt x="1913429" y="4941897"/>
                  <a:pt x="1912432" y="4937227"/>
                </a:cubicBezTo>
                <a:cubicBezTo>
                  <a:pt x="1906763" y="4933553"/>
                  <a:pt x="1902092" y="4934551"/>
                  <a:pt x="1902092" y="4934551"/>
                </a:cubicBezTo>
                <a:lnTo>
                  <a:pt x="1904088" y="4943893"/>
                </a:lnTo>
                <a:lnTo>
                  <a:pt x="1898418" y="4940221"/>
                </a:lnTo>
                <a:cubicBezTo>
                  <a:pt x="1891752" y="4931875"/>
                  <a:pt x="1878418" y="4915188"/>
                  <a:pt x="1873746" y="4916186"/>
                </a:cubicBezTo>
                <a:cubicBezTo>
                  <a:pt x="1851750" y="4881812"/>
                  <a:pt x="1858417" y="4890155"/>
                  <a:pt x="1855423" y="4876142"/>
                </a:cubicBezTo>
                <a:cubicBezTo>
                  <a:pt x="1841090" y="4854784"/>
                  <a:pt x="1853746" y="4891153"/>
                  <a:pt x="1845083" y="4873468"/>
                </a:cubicBezTo>
                <a:cubicBezTo>
                  <a:pt x="1844085" y="4868797"/>
                  <a:pt x="1851432" y="4857458"/>
                  <a:pt x="1840093" y="4850113"/>
                </a:cubicBezTo>
                <a:cubicBezTo>
                  <a:pt x="1842089" y="4859454"/>
                  <a:pt x="1838417" y="4865123"/>
                  <a:pt x="1831749" y="4856779"/>
                </a:cubicBezTo>
                <a:cubicBezTo>
                  <a:pt x="1837418" y="4860453"/>
                  <a:pt x="1833427" y="4841769"/>
                  <a:pt x="1828756" y="4842767"/>
                </a:cubicBezTo>
                <a:cubicBezTo>
                  <a:pt x="1811748" y="4831747"/>
                  <a:pt x="1793107" y="4767351"/>
                  <a:pt x="1767437" y="4738646"/>
                </a:cubicBezTo>
                <a:cubicBezTo>
                  <a:pt x="1774784" y="4727309"/>
                  <a:pt x="1757775" y="4716290"/>
                  <a:pt x="1759453" y="4701279"/>
                </a:cubicBezTo>
                <a:cubicBezTo>
                  <a:pt x="1752106" y="4712616"/>
                  <a:pt x="1732786" y="4667902"/>
                  <a:pt x="1748116" y="4693932"/>
                </a:cubicBezTo>
                <a:cubicBezTo>
                  <a:pt x="1740451" y="4680917"/>
                  <a:pt x="1733783" y="4672573"/>
                  <a:pt x="1730789" y="4658560"/>
                </a:cubicBezTo>
                <a:cubicBezTo>
                  <a:pt x="1727117" y="4664228"/>
                  <a:pt x="1729114" y="4673570"/>
                  <a:pt x="1720450" y="4655885"/>
                </a:cubicBezTo>
                <a:cubicBezTo>
                  <a:pt x="1720450" y="4655885"/>
                  <a:pt x="1725121" y="4654886"/>
                  <a:pt x="1724123" y="4650215"/>
                </a:cubicBezTo>
                <a:cubicBezTo>
                  <a:pt x="1709111" y="4648539"/>
                  <a:pt x="1715142" y="4608176"/>
                  <a:pt x="1694462" y="4602826"/>
                </a:cubicBezTo>
                <a:cubicBezTo>
                  <a:pt x="1701807" y="4591488"/>
                  <a:pt x="1679131" y="4576797"/>
                  <a:pt x="1686478" y="4565458"/>
                </a:cubicBezTo>
                <a:cubicBezTo>
                  <a:pt x="1679810" y="4557114"/>
                  <a:pt x="1675140" y="4558111"/>
                  <a:pt x="1667476" y="4545098"/>
                </a:cubicBezTo>
                <a:cubicBezTo>
                  <a:pt x="1684482" y="4556117"/>
                  <a:pt x="1663483" y="4526412"/>
                  <a:pt x="1666159" y="4516074"/>
                </a:cubicBezTo>
                <a:cubicBezTo>
                  <a:pt x="1650149" y="4509724"/>
                  <a:pt x="1652505" y="4475032"/>
                  <a:pt x="1643164" y="4477028"/>
                </a:cubicBezTo>
                <a:cubicBezTo>
                  <a:pt x="1640169" y="4463014"/>
                  <a:pt x="1640169" y="4463014"/>
                  <a:pt x="1647836" y="4476029"/>
                </a:cubicBezTo>
                <a:cubicBezTo>
                  <a:pt x="1639172" y="4458344"/>
                  <a:pt x="1629511" y="4435986"/>
                  <a:pt x="1625519" y="4417302"/>
                </a:cubicBezTo>
                <a:cubicBezTo>
                  <a:pt x="1631188" y="4420976"/>
                  <a:pt x="1632186" y="4425648"/>
                  <a:pt x="1636858" y="4424649"/>
                </a:cubicBezTo>
                <a:lnTo>
                  <a:pt x="1643326" y="4435630"/>
                </a:lnTo>
                <a:lnTo>
                  <a:pt x="1642725" y="4443543"/>
                </a:lnTo>
                <a:cubicBezTo>
                  <a:pt x="1642765" y="4446586"/>
                  <a:pt x="1641849" y="4448003"/>
                  <a:pt x="1636179" y="4444330"/>
                </a:cubicBezTo>
                <a:cubicBezTo>
                  <a:pt x="1642846" y="4452675"/>
                  <a:pt x="1644841" y="4462017"/>
                  <a:pt x="1649512" y="4461018"/>
                </a:cubicBezTo>
                <a:cubicBezTo>
                  <a:pt x="1651508" y="4470362"/>
                  <a:pt x="1659173" y="4483377"/>
                  <a:pt x="1665839" y="4491720"/>
                </a:cubicBezTo>
                <a:cubicBezTo>
                  <a:pt x="1666838" y="4496392"/>
                  <a:pt x="1666838" y="4496392"/>
                  <a:pt x="1666838" y="4496392"/>
                </a:cubicBezTo>
                <a:cubicBezTo>
                  <a:pt x="1667836" y="4501062"/>
                  <a:pt x="1667836" y="4501062"/>
                  <a:pt x="1667836" y="4501062"/>
                </a:cubicBezTo>
                <a:cubicBezTo>
                  <a:pt x="1672506" y="4500064"/>
                  <a:pt x="1672506" y="4500064"/>
                  <a:pt x="1672506" y="4500064"/>
                </a:cubicBezTo>
                <a:cubicBezTo>
                  <a:pt x="1672506" y="4500064"/>
                  <a:pt x="1675182" y="4489725"/>
                  <a:pt x="1672188" y="4475711"/>
                </a:cubicBezTo>
                <a:cubicBezTo>
                  <a:pt x="1666519" y="4472037"/>
                  <a:pt x="1666519" y="4472037"/>
                  <a:pt x="1666519" y="4472037"/>
                </a:cubicBezTo>
                <a:cubicBezTo>
                  <a:pt x="1665521" y="4467367"/>
                  <a:pt x="1665521" y="4467367"/>
                  <a:pt x="1665521" y="4467367"/>
                </a:cubicBezTo>
                <a:cubicBezTo>
                  <a:pt x="1665521" y="4467367"/>
                  <a:pt x="1664523" y="4462696"/>
                  <a:pt x="1659852" y="4463695"/>
                </a:cubicBezTo>
                <a:cubicBezTo>
                  <a:pt x="1661530" y="4448683"/>
                  <a:pt x="1662527" y="4453355"/>
                  <a:pt x="1652866" y="4430997"/>
                </a:cubicBezTo>
                <a:cubicBezTo>
                  <a:pt x="1657538" y="4429998"/>
                  <a:pt x="1662208" y="4429001"/>
                  <a:pt x="1664883" y="4418662"/>
                </a:cubicBezTo>
                <a:cubicBezTo>
                  <a:pt x="1655222" y="4396304"/>
                  <a:pt x="1662570" y="4384965"/>
                  <a:pt x="1653906" y="4367280"/>
                </a:cubicBezTo>
                <a:cubicBezTo>
                  <a:pt x="1653949" y="4298891"/>
                  <a:pt x="1637981" y="4224156"/>
                  <a:pt x="1626006" y="4168104"/>
                </a:cubicBezTo>
                <a:cubicBezTo>
                  <a:pt x="1625007" y="4163433"/>
                  <a:pt x="1620338" y="4164430"/>
                  <a:pt x="1620338" y="4164430"/>
                </a:cubicBezTo>
                <a:cubicBezTo>
                  <a:pt x="1620338" y="4164430"/>
                  <a:pt x="1615666" y="4165427"/>
                  <a:pt x="1616665" y="4170100"/>
                </a:cubicBezTo>
                <a:cubicBezTo>
                  <a:pt x="1632313" y="4220483"/>
                  <a:pt x="1648280" y="4295219"/>
                  <a:pt x="1646242" y="4354265"/>
                </a:cubicBezTo>
                <a:cubicBezTo>
                  <a:pt x="1646242" y="4354265"/>
                  <a:pt x="1646242" y="4354265"/>
                  <a:pt x="1641572" y="4355264"/>
                </a:cubicBezTo>
                <a:cubicBezTo>
                  <a:pt x="1640573" y="4350591"/>
                  <a:pt x="1640573" y="4350591"/>
                  <a:pt x="1634904" y="4346919"/>
                </a:cubicBezTo>
                <a:cubicBezTo>
                  <a:pt x="1640573" y="4350591"/>
                  <a:pt x="1641572" y="4355264"/>
                  <a:pt x="1642569" y="4359934"/>
                </a:cubicBezTo>
                <a:cubicBezTo>
                  <a:pt x="1642569" y="4359934"/>
                  <a:pt x="1642569" y="4359934"/>
                  <a:pt x="1638895" y="4365602"/>
                </a:cubicBezTo>
                <a:cubicBezTo>
                  <a:pt x="1634904" y="4346919"/>
                  <a:pt x="1627919" y="4314222"/>
                  <a:pt x="1623247" y="4315219"/>
                </a:cubicBezTo>
                <a:cubicBezTo>
                  <a:pt x="1629913" y="4323563"/>
                  <a:pt x="1626241" y="4329233"/>
                  <a:pt x="1621571" y="4330231"/>
                </a:cubicBezTo>
                <a:cubicBezTo>
                  <a:pt x="1614903" y="4321887"/>
                  <a:pt x="1612907" y="4312544"/>
                  <a:pt x="1605241" y="4299529"/>
                </a:cubicBezTo>
                <a:cubicBezTo>
                  <a:pt x="1603246" y="4290188"/>
                  <a:pt x="1603925" y="4270505"/>
                  <a:pt x="1595263" y="4252820"/>
                </a:cubicBezTo>
                <a:cubicBezTo>
                  <a:pt x="1593267" y="4243477"/>
                  <a:pt x="1591271" y="4234135"/>
                  <a:pt x="1584604" y="4225791"/>
                </a:cubicBezTo>
                <a:cubicBezTo>
                  <a:pt x="1576621" y="4188423"/>
                  <a:pt x="1569636" y="4155727"/>
                  <a:pt x="1560653" y="4113688"/>
                </a:cubicBezTo>
                <a:cubicBezTo>
                  <a:pt x="1560653" y="4113688"/>
                  <a:pt x="1556981" y="4119356"/>
                  <a:pt x="1557980" y="4124028"/>
                </a:cubicBezTo>
                <a:cubicBezTo>
                  <a:pt x="1557980" y="4124028"/>
                  <a:pt x="1556981" y="4119356"/>
                  <a:pt x="1556981" y="4119356"/>
                </a:cubicBezTo>
                <a:cubicBezTo>
                  <a:pt x="1555983" y="4114685"/>
                  <a:pt x="1555983" y="4114685"/>
                  <a:pt x="1555983" y="4114685"/>
                </a:cubicBezTo>
                <a:cubicBezTo>
                  <a:pt x="1554987" y="4110014"/>
                  <a:pt x="1554987" y="4110014"/>
                  <a:pt x="1553987" y="4105344"/>
                </a:cubicBezTo>
                <a:cubicBezTo>
                  <a:pt x="1548998" y="4081987"/>
                  <a:pt x="1539337" y="4059632"/>
                  <a:pt x="1535347" y="4040947"/>
                </a:cubicBezTo>
                <a:cubicBezTo>
                  <a:pt x="1534347" y="4036277"/>
                  <a:pt x="1534347" y="4036277"/>
                  <a:pt x="1533348" y="4031606"/>
                </a:cubicBezTo>
                <a:cubicBezTo>
                  <a:pt x="1532351" y="4026934"/>
                  <a:pt x="1531352" y="4022263"/>
                  <a:pt x="1530356" y="4017592"/>
                </a:cubicBezTo>
                <a:cubicBezTo>
                  <a:pt x="1528360" y="4008250"/>
                  <a:pt x="1526363" y="3998908"/>
                  <a:pt x="1524368" y="3989566"/>
                </a:cubicBezTo>
                <a:cubicBezTo>
                  <a:pt x="1523369" y="3984895"/>
                  <a:pt x="1523369" y="3984895"/>
                  <a:pt x="1523369" y="3984895"/>
                </a:cubicBezTo>
                <a:cubicBezTo>
                  <a:pt x="1522372" y="3980224"/>
                  <a:pt x="1522372" y="3980224"/>
                  <a:pt x="1522372" y="3980224"/>
                </a:cubicBezTo>
                <a:cubicBezTo>
                  <a:pt x="1522372" y="3980224"/>
                  <a:pt x="1522372" y="3980224"/>
                  <a:pt x="1517699" y="3981221"/>
                </a:cubicBezTo>
                <a:cubicBezTo>
                  <a:pt x="1521375" y="3975553"/>
                  <a:pt x="1521375" y="3975553"/>
                  <a:pt x="1526045" y="3974555"/>
                </a:cubicBezTo>
                <a:cubicBezTo>
                  <a:pt x="1518380" y="3961540"/>
                  <a:pt x="1518380" y="3961540"/>
                  <a:pt x="1518380" y="3961540"/>
                </a:cubicBezTo>
                <a:cubicBezTo>
                  <a:pt x="1518380" y="3961540"/>
                  <a:pt x="1518380" y="3961540"/>
                  <a:pt x="1514707" y="3967209"/>
                </a:cubicBezTo>
                <a:cubicBezTo>
                  <a:pt x="1513708" y="3962537"/>
                  <a:pt x="1513708" y="3962537"/>
                  <a:pt x="1512710" y="3957867"/>
                </a:cubicBezTo>
                <a:cubicBezTo>
                  <a:pt x="1513390" y="3938185"/>
                  <a:pt x="1508401" y="3914830"/>
                  <a:pt x="1504408" y="3896146"/>
                </a:cubicBezTo>
                <a:cubicBezTo>
                  <a:pt x="1508082" y="3890477"/>
                  <a:pt x="1506086" y="3881136"/>
                  <a:pt x="1505087" y="3876464"/>
                </a:cubicBezTo>
                <a:cubicBezTo>
                  <a:pt x="1504090" y="3871793"/>
                  <a:pt x="1504090" y="3871793"/>
                  <a:pt x="1503093" y="3867123"/>
                </a:cubicBezTo>
                <a:cubicBezTo>
                  <a:pt x="1502096" y="3862450"/>
                  <a:pt x="1505767" y="3856782"/>
                  <a:pt x="1505767" y="3856782"/>
                </a:cubicBezTo>
                <a:cubicBezTo>
                  <a:pt x="1510438" y="3855784"/>
                  <a:pt x="1510438" y="3855784"/>
                  <a:pt x="1511436" y="3860456"/>
                </a:cubicBezTo>
                <a:cubicBezTo>
                  <a:pt x="1511436" y="3860456"/>
                  <a:pt x="1516108" y="3859457"/>
                  <a:pt x="1517105" y="3864128"/>
                </a:cubicBezTo>
                <a:cubicBezTo>
                  <a:pt x="1517105" y="3864128"/>
                  <a:pt x="1517105" y="3864128"/>
                  <a:pt x="1516108" y="3859457"/>
                </a:cubicBezTo>
                <a:cubicBezTo>
                  <a:pt x="1520779" y="3858458"/>
                  <a:pt x="1520779" y="3858458"/>
                  <a:pt x="1520779" y="3858458"/>
                </a:cubicBezTo>
                <a:cubicBezTo>
                  <a:pt x="1519780" y="3853788"/>
                  <a:pt x="1515111" y="3854787"/>
                  <a:pt x="1514112" y="3850114"/>
                </a:cubicBezTo>
                <a:cubicBezTo>
                  <a:pt x="1508442" y="3846442"/>
                  <a:pt x="1507444" y="3841772"/>
                  <a:pt x="1502774" y="3842769"/>
                </a:cubicBezTo>
                <a:cubicBezTo>
                  <a:pt x="1503770" y="3847441"/>
                  <a:pt x="1499101" y="3848438"/>
                  <a:pt x="1499101" y="3848438"/>
                </a:cubicBezTo>
                <a:cubicBezTo>
                  <a:pt x="1499101" y="3848438"/>
                  <a:pt x="1497104" y="3839097"/>
                  <a:pt x="1491436" y="3835424"/>
                </a:cubicBezTo>
                <a:cubicBezTo>
                  <a:pt x="1489440" y="3826080"/>
                  <a:pt x="1488442" y="3821410"/>
                  <a:pt x="1491118" y="3811070"/>
                </a:cubicBezTo>
                <a:cubicBezTo>
                  <a:pt x="1492115" y="3815742"/>
                  <a:pt x="1496785" y="3814743"/>
                  <a:pt x="1496785" y="3814743"/>
                </a:cubicBezTo>
                <a:cubicBezTo>
                  <a:pt x="1495787" y="3810073"/>
                  <a:pt x="1495787" y="3810073"/>
                  <a:pt x="1495787" y="3810073"/>
                </a:cubicBezTo>
                <a:cubicBezTo>
                  <a:pt x="1494791" y="3805402"/>
                  <a:pt x="1494791" y="3805402"/>
                  <a:pt x="1493791" y="3800730"/>
                </a:cubicBezTo>
                <a:cubicBezTo>
                  <a:pt x="1492794" y="3796059"/>
                  <a:pt x="1492794" y="3796059"/>
                  <a:pt x="1492794" y="3796059"/>
                </a:cubicBezTo>
                <a:cubicBezTo>
                  <a:pt x="1492794" y="3796059"/>
                  <a:pt x="1492794" y="3796059"/>
                  <a:pt x="1491796" y="3791389"/>
                </a:cubicBezTo>
                <a:cubicBezTo>
                  <a:pt x="1489799" y="3782046"/>
                  <a:pt x="1488802" y="3777375"/>
                  <a:pt x="1487804" y="3772705"/>
                </a:cubicBezTo>
                <a:cubicBezTo>
                  <a:pt x="1486806" y="3768032"/>
                  <a:pt x="1485808" y="3763362"/>
                  <a:pt x="1484809" y="3758693"/>
                </a:cubicBezTo>
                <a:cubicBezTo>
                  <a:pt x="1488483" y="3753022"/>
                  <a:pt x="1487486" y="3748350"/>
                  <a:pt x="1486487" y="3743680"/>
                </a:cubicBezTo>
                <a:cubicBezTo>
                  <a:pt x="1494833" y="3737012"/>
                  <a:pt x="1485170" y="3714656"/>
                  <a:pt x="1484853" y="3690303"/>
                </a:cubicBezTo>
                <a:cubicBezTo>
                  <a:pt x="1480182" y="3691301"/>
                  <a:pt x="1480182" y="3691301"/>
                  <a:pt x="1480182" y="3691301"/>
                </a:cubicBezTo>
                <a:cubicBezTo>
                  <a:pt x="1476870" y="3652934"/>
                  <a:pt x="1475552" y="3623910"/>
                  <a:pt x="1478906" y="3593889"/>
                </a:cubicBezTo>
                <a:cubicBezTo>
                  <a:pt x="1477909" y="3589218"/>
                  <a:pt x="1482579" y="3588219"/>
                  <a:pt x="1481582" y="3583549"/>
                </a:cubicBezTo>
                <a:cubicBezTo>
                  <a:pt x="1480585" y="3578879"/>
                  <a:pt x="1480585" y="3578879"/>
                  <a:pt x="1480585" y="3578879"/>
                </a:cubicBezTo>
                <a:cubicBezTo>
                  <a:pt x="1476911" y="3584548"/>
                  <a:pt x="1476911" y="3584548"/>
                  <a:pt x="1476911" y="3584548"/>
                </a:cubicBezTo>
                <a:cubicBezTo>
                  <a:pt x="1474916" y="3575204"/>
                  <a:pt x="1478589" y="3569537"/>
                  <a:pt x="1476591" y="3560194"/>
                </a:cubicBezTo>
                <a:cubicBezTo>
                  <a:pt x="1475594" y="3555524"/>
                  <a:pt x="1480266" y="3554525"/>
                  <a:pt x="1480266" y="3554525"/>
                </a:cubicBezTo>
                <a:cubicBezTo>
                  <a:pt x="1479268" y="3549854"/>
                  <a:pt x="1479268" y="3549854"/>
                  <a:pt x="1474596" y="3550853"/>
                </a:cubicBezTo>
                <a:cubicBezTo>
                  <a:pt x="1473599" y="3546181"/>
                  <a:pt x="1478268" y="3545184"/>
                  <a:pt x="1477271" y="3540513"/>
                </a:cubicBezTo>
                <a:cubicBezTo>
                  <a:pt x="1476274" y="3535841"/>
                  <a:pt x="1475275" y="3531170"/>
                  <a:pt x="1477950" y="3520831"/>
                </a:cubicBezTo>
                <a:cubicBezTo>
                  <a:pt x="1477950" y="3520831"/>
                  <a:pt x="1477950" y="3520831"/>
                  <a:pt x="1476953" y="3516159"/>
                </a:cubicBezTo>
                <a:cubicBezTo>
                  <a:pt x="1475956" y="3511487"/>
                  <a:pt x="1474959" y="3506818"/>
                  <a:pt x="1473959" y="3502146"/>
                </a:cubicBezTo>
                <a:cubicBezTo>
                  <a:pt x="1478631" y="3501149"/>
                  <a:pt x="1478631" y="3501149"/>
                  <a:pt x="1478631" y="3501149"/>
                </a:cubicBezTo>
                <a:cubicBezTo>
                  <a:pt x="1477993" y="3452442"/>
                  <a:pt x="1481029" y="3398067"/>
                  <a:pt x="1485742" y="3328682"/>
                </a:cubicBezTo>
                <a:cubicBezTo>
                  <a:pt x="1485742" y="3328682"/>
                  <a:pt x="1491412" y="3332354"/>
                  <a:pt x="1490413" y="3327685"/>
                </a:cubicBezTo>
                <a:cubicBezTo>
                  <a:pt x="1492409" y="3337025"/>
                  <a:pt x="1488735" y="3342694"/>
                  <a:pt x="1490732" y="3352037"/>
                </a:cubicBezTo>
                <a:cubicBezTo>
                  <a:pt x="1491730" y="3356707"/>
                  <a:pt x="1488056" y="3362377"/>
                  <a:pt x="1492048" y="3381061"/>
                </a:cubicBezTo>
                <a:cubicBezTo>
                  <a:pt x="1490370" y="3396071"/>
                  <a:pt x="1488692" y="3411082"/>
                  <a:pt x="1488015" y="3430765"/>
                </a:cubicBezTo>
                <a:cubicBezTo>
                  <a:pt x="1488651" y="3479470"/>
                  <a:pt x="1485616" y="3533845"/>
                  <a:pt x="1496593" y="3585226"/>
                </a:cubicBezTo>
                <a:cubicBezTo>
                  <a:pt x="1496593" y="3585226"/>
                  <a:pt x="1492920" y="3590896"/>
                  <a:pt x="1492920" y="3590896"/>
                </a:cubicBezTo>
                <a:cubicBezTo>
                  <a:pt x="1493920" y="3595566"/>
                  <a:pt x="1493920" y="3595566"/>
                  <a:pt x="1494916" y="3600237"/>
                </a:cubicBezTo>
                <a:cubicBezTo>
                  <a:pt x="1491242" y="3605906"/>
                  <a:pt x="1492240" y="3610578"/>
                  <a:pt x="1493239" y="3615248"/>
                </a:cubicBezTo>
                <a:cubicBezTo>
                  <a:pt x="1497910" y="3614251"/>
                  <a:pt x="1497910" y="3614251"/>
                  <a:pt x="1496911" y="3609580"/>
                </a:cubicBezTo>
                <a:cubicBezTo>
                  <a:pt x="1498908" y="3618921"/>
                  <a:pt x="1499906" y="3623594"/>
                  <a:pt x="1495235" y="3624591"/>
                </a:cubicBezTo>
                <a:cubicBezTo>
                  <a:pt x="1496232" y="3629262"/>
                  <a:pt x="1497229" y="3633932"/>
                  <a:pt x="1498229" y="3638603"/>
                </a:cubicBezTo>
                <a:cubicBezTo>
                  <a:pt x="1502899" y="3637605"/>
                  <a:pt x="1502899" y="3637605"/>
                  <a:pt x="1501903" y="3632933"/>
                </a:cubicBezTo>
                <a:cubicBezTo>
                  <a:pt x="1505575" y="3627266"/>
                  <a:pt x="1504577" y="3622595"/>
                  <a:pt x="1504577" y="3622595"/>
                </a:cubicBezTo>
                <a:cubicBezTo>
                  <a:pt x="1502582" y="3613252"/>
                  <a:pt x="1501584" y="3608581"/>
                  <a:pt x="1500585" y="3603911"/>
                </a:cubicBezTo>
                <a:cubicBezTo>
                  <a:pt x="1500585" y="3603911"/>
                  <a:pt x="1504258" y="3598241"/>
                  <a:pt x="1504258" y="3598241"/>
                </a:cubicBezTo>
                <a:cubicBezTo>
                  <a:pt x="1505255" y="3602912"/>
                  <a:pt x="1509927" y="3601915"/>
                  <a:pt x="1508929" y="3597243"/>
                </a:cubicBezTo>
                <a:cubicBezTo>
                  <a:pt x="1508929" y="3597243"/>
                  <a:pt x="1508929" y="3597243"/>
                  <a:pt x="1507930" y="3592574"/>
                </a:cubicBezTo>
                <a:cubicBezTo>
                  <a:pt x="1507930" y="3592574"/>
                  <a:pt x="1506933" y="3587901"/>
                  <a:pt x="1506933" y="3587901"/>
                </a:cubicBezTo>
                <a:cubicBezTo>
                  <a:pt x="1505936" y="3583231"/>
                  <a:pt x="1501265" y="3584228"/>
                  <a:pt x="1500267" y="3579558"/>
                </a:cubicBezTo>
                <a:cubicBezTo>
                  <a:pt x="1500267" y="3579558"/>
                  <a:pt x="1499268" y="3574887"/>
                  <a:pt x="1499268" y="3574887"/>
                </a:cubicBezTo>
                <a:cubicBezTo>
                  <a:pt x="1499268" y="3574887"/>
                  <a:pt x="1498270" y="3570216"/>
                  <a:pt x="1498270" y="3570216"/>
                </a:cubicBezTo>
                <a:cubicBezTo>
                  <a:pt x="1496273" y="3560873"/>
                  <a:pt x="1498950" y="3550533"/>
                  <a:pt x="1497951" y="3545863"/>
                </a:cubicBezTo>
                <a:cubicBezTo>
                  <a:pt x="1496953" y="3541192"/>
                  <a:pt x="1499629" y="3530852"/>
                  <a:pt x="1502303" y="3520512"/>
                </a:cubicBezTo>
                <a:lnTo>
                  <a:pt x="1503052" y="3524015"/>
                </a:lnTo>
                <a:cubicBezTo>
                  <a:pt x="1503302" y="3525183"/>
                  <a:pt x="1503302" y="3525183"/>
                  <a:pt x="1503302" y="3525183"/>
                </a:cubicBezTo>
                <a:cubicBezTo>
                  <a:pt x="1503302" y="3525183"/>
                  <a:pt x="1504300" y="3529853"/>
                  <a:pt x="1504300" y="3529853"/>
                </a:cubicBezTo>
                <a:cubicBezTo>
                  <a:pt x="1504300" y="3529853"/>
                  <a:pt x="1507974" y="3524184"/>
                  <a:pt x="1507974" y="3524184"/>
                </a:cubicBezTo>
                <a:cubicBezTo>
                  <a:pt x="1504979" y="3510172"/>
                  <a:pt x="1504979" y="3510172"/>
                  <a:pt x="1504979" y="3510172"/>
                </a:cubicBezTo>
                <a:cubicBezTo>
                  <a:pt x="1504979" y="3510172"/>
                  <a:pt x="1503981" y="3505501"/>
                  <a:pt x="1502984" y="3500831"/>
                </a:cubicBezTo>
                <a:cubicBezTo>
                  <a:pt x="1511010" y="3469809"/>
                  <a:pt x="1512685" y="3454799"/>
                  <a:pt x="1505701" y="3422101"/>
                </a:cubicBezTo>
                <a:cubicBezTo>
                  <a:pt x="1505701" y="3422101"/>
                  <a:pt x="1504702" y="3417432"/>
                  <a:pt x="1504702" y="3417432"/>
                </a:cubicBezTo>
                <a:cubicBezTo>
                  <a:pt x="1507378" y="3407090"/>
                  <a:pt x="1510053" y="3396751"/>
                  <a:pt x="1513725" y="3391082"/>
                </a:cubicBezTo>
                <a:cubicBezTo>
                  <a:pt x="1506062" y="3378068"/>
                  <a:pt x="1515402" y="3376070"/>
                  <a:pt x="1517081" y="3361059"/>
                </a:cubicBezTo>
                <a:cubicBezTo>
                  <a:pt x="1523110" y="3320699"/>
                  <a:pt x="1522473" y="3271993"/>
                  <a:pt x="1537845" y="3229635"/>
                </a:cubicBezTo>
                <a:lnTo>
                  <a:pt x="1537470" y="3237096"/>
                </a:lnTo>
                <a:lnTo>
                  <a:pt x="1536167" y="3244645"/>
                </a:lnTo>
                <a:cubicBezTo>
                  <a:pt x="1536167" y="3244645"/>
                  <a:pt x="1536836" y="3242059"/>
                  <a:pt x="1537380" y="3238891"/>
                </a:cubicBezTo>
                <a:lnTo>
                  <a:pt x="1537470" y="3237096"/>
                </a:lnTo>
                <a:lnTo>
                  <a:pt x="1547897" y="3176681"/>
                </a:lnTo>
                <a:lnTo>
                  <a:pt x="1545573" y="3277555"/>
                </a:lnTo>
                <a:cubicBezTo>
                  <a:pt x="1546668" y="3464676"/>
                  <a:pt x="1564032" y="3649179"/>
                  <a:pt x="1597367" y="3833692"/>
                </a:cubicBezTo>
                <a:cubicBezTo>
                  <a:pt x="1599024" y="3841449"/>
                  <a:pt x="1600268" y="3847267"/>
                  <a:pt x="1601925" y="3855026"/>
                </a:cubicBezTo>
                <a:cubicBezTo>
                  <a:pt x="1621187" y="3840769"/>
                  <a:pt x="1613581" y="3824145"/>
                  <a:pt x="1610266" y="3808629"/>
                </a:cubicBezTo>
                <a:cubicBezTo>
                  <a:pt x="1558492" y="3537815"/>
                  <a:pt x="1552907" y="3274371"/>
                  <a:pt x="1591906" y="3017877"/>
                </a:cubicBezTo>
                <a:lnTo>
                  <a:pt x="1617063" y="2889971"/>
                </a:lnTo>
                <a:lnTo>
                  <a:pt x="1617864" y="2892622"/>
                </a:lnTo>
                <a:cubicBezTo>
                  <a:pt x="1618030" y="2896252"/>
                  <a:pt x="1618778" y="2899754"/>
                  <a:pt x="1623449" y="2898755"/>
                </a:cubicBezTo>
                <a:cubicBezTo>
                  <a:pt x="1627462" y="2883247"/>
                  <a:pt x="1623709" y="2882826"/>
                  <a:pt x="1621000" y="2881573"/>
                </a:cubicBezTo>
                <a:lnTo>
                  <a:pt x="1619374" y="2878224"/>
                </a:lnTo>
                <a:lnTo>
                  <a:pt x="1620680" y="2871580"/>
                </a:lnTo>
                <a:lnTo>
                  <a:pt x="1624809" y="2859392"/>
                </a:lnTo>
                <a:cubicBezTo>
                  <a:pt x="1624809" y="2859392"/>
                  <a:pt x="1625807" y="2864063"/>
                  <a:pt x="1626805" y="2868734"/>
                </a:cubicBezTo>
                <a:cubicBezTo>
                  <a:pt x="1637504" y="2827374"/>
                  <a:pt x="1654871" y="2794358"/>
                  <a:pt x="1653555" y="2765334"/>
                </a:cubicBezTo>
                <a:cubicBezTo>
                  <a:pt x="1653555" y="2765334"/>
                  <a:pt x="1655550" y="2774676"/>
                  <a:pt x="1659225" y="2769008"/>
                </a:cubicBezTo>
                <a:cubicBezTo>
                  <a:pt x="1653237" y="2740980"/>
                  <a:pt x="1672600" y="2717308"/>
                  <a:pt x="1687292" y="2694632"/>
                </a:cubicBezTo>
                <a:cubicBezTo>
                  <a:pt x="1689650" y="2659938"/>
                  <a:pt x="1703343" y="2632592"/>
                  <a:pt x="1721709" y="2604247"/>
                </a:cubicBezTo>
                <a:cubicBezTo>
                  <a:pt x="1735404" y="2576901"/>
                  <a:pt x="1754767" y="2553227"/>
                  <a:pt x="1765467" y="2511867"/>
                </a:cubicBezTo>
                <a:cubicBezTo>
                  <a:pt x="1770138" y="2510869"/>
                  <a:pt x="1770138" y="2510869"/>
                  <a:pt x="1770138" y="2510869"/>
                </a:cubicBezTo>
                <a:cubicBezTo>
                  <a:pt x="1767464" y="2521209"/>
                  <a:pt x="1767464" y="2521209"/>
                  <a:pt x="1767464" y="2521209"/>
                </a:cubicBezTo>
                <a:cubicBezTo>
                  <a:pt x="1767464" y="2521209"/>
                  <a:pt x="1767464" y="2521209"/>
                  <a:pt x="1772134" y="2520212"/>
                </a:cubicBezTo>
                <a:cubicBezTo>
                  <a:pt x="1771136" y="2515541"/>
                  <a:pt x="1771136" y="2515541"/>
                  <a:pt x="1771136" y="2515541"/>
                </a:cubicBezTo>
                <a:cubicBezTo>
                  <a:pt x="1774810" y="2509871"/>
                  <a:pt x="1774810" y="2509871"/>
                  <a:pt x="1774810" y="2509871"/>
                </a:cubicBezTo>
                <a:cubicBezTo>
                  <a:pt x="1778482" y="2504202"/>
                  <a:pt x="1784831" y="2488195"/>
                  <a:pt x="1792178" y="2476856"/>
                </a:cubicBezTo>
                <a:cubicBezTo>
                  <a:pt x="1791179" y="2472185"/>
                  <a:pt x="1786509" y="2473183"/>
                  <a:pt x="1790180" y="2467514"/>
                </a:cubicBezTo>
                <a:cubicBezTo>
                  <a:pt x="1790180" y="2467514"/>
                  <a:pt x="1789183" y="2462842"/>
                  <a:pt x="1793854" y="2461845"/>
                </a:cubicBezTo>
                <a:cubicBezTo>
                  <a:pt x="1793854" y="2461845"/>
                  <a:pt x="1790180" y="2467514"/>
                  <a:pt x="1795850" y="2471187"/>
                </a:cubicBezTo>
                <a:cubicBezTo>
                  <a:pt x="1798526" y="2460847"/>
                  <a:pt x="1797527" y="2456176"/>
                  <a:pt x="1801201" y="2450507"/>
                </a:cubicBezTo>
                <a:cubicBezTo>
                  <a:pt x="1801201" y="2450507"/>
                  <a:pt x="1801201" y="2450507"/>
                  <a:pt x="1802198" y="2455177"/>
                </a:cubicBezTo>
                <a:cubicBezTo>
                  <a:pt x="1803197" y="2459849"/>
                  <a:pt x="1803197" y="2459849"/>
                  <a:pt x="1803197" y="2459849"/>
                </a:cubicBezTo>
                <a:cubicBezTo>
                  <a:pt x="1803197" y="2459849"/>
                  <a:pt x="1807868" y="2458850"/>
                  <a:pt x="1807868" y="2458850"/>
                </a:cubicBezTo>
                <a:cubicBezTo>
                  <a:pt x="1807868" y="2458850"/>
                  <a:pt x="1806871" y="2454180"/>
                  <a:pt x="1806871" y="2454180"/>
                </a:cubicBezTo>
                <a:cubicBezTo>
                  <a:pt x="1810542" y="2448511"/>
                  <a:pt x="1805872" y="2449510"/>
                  <a:pt x="1804873" y="2444837"/>
                </a:cubicBezTo>
                <a:cubicBezTo>
                  <a:pt x="1803876" y="2440166"/>
                  <a:pt x="1808546" y="2439168"/>
                  <a:pt x="1807549" y="2434499"/>
                </a:cubicBezTo>
                <a:cubicBezTo>
                  <a:pt x="1808546" y="2439168"/>
                  <a:pt x="1813219" y="2438170"/>
                  <a:pt x="1812220" y="2433500"/>
                </a:cubicBezTo>
                <a:cubicBezTo>
                  <a:pt x="1815894" y="2427831"/>
                  <a:pt x="1815894" y="2427831"/>
                  <a:pt x="1815894" y="2427831"/>
                </a:cubicBezTo>
                <a:cubicBezTo>
                  <a:pt x="1815894" y="2427831"/>
                  <a:pt x="1814895" y="2423160"/>
                  <a:pt x="1814895" y="2423160"/>
                </a:cubicBezTo>
                <a:cubicBezTo>
                  <a:pt x="1818568" y="2417492"/>
                  <a:pt x="1817570" y="2412820"/>
                  <a:pt x="1822240" y="2411823"/>
                </a:cubicBezTo>
                <a:lnTo>
                  <a:pt x="1825914" y="2406152"/>
                </a:lnTo>
                <a:lnTo>
                  <a:pt x="1826913" y="2410824"/>
                </a:lnTo>
                <a:cubicBezTo>
                  <a:pt x="1830586" y="2405155"/>
                  <a:pt x="1830586" y="2405155"/>
                  <a:pt x="1830586" y="2405155"/>
                </a:cubicBezTo>
                <a:cubicBezTo>
                  <a:pt x="1829587" y="2400485"/>
                  <a:pt x="1834258" y="2399486"/>
                  <a:pt x="1833261" y="2394815"/>
                </a:cubicBezTo>
                <a:cubicBezTo>
                  <a:pt x="1838929" y="2398489"/>
                  <a:pt x="1841605" y="2388148"/>
                  <a:pt x="1845277" y="2382479"/>
                </a:cubicBezTo>
                <a:cubicBezTo>
                  <a:pt x="1847273" y="2391822"/>
                  <a:pt x="1854620" y="2380483"/>
                  <a:pt x="1851945" y="2390824"/>
                </a:cubicBezTo>
                <a:cubicBezTo>
                  <a:pt x="1861966" y="2369146"/>
                  <a:pt x="1861966" y="2369146"/>
                  <a:pt x="1861966" y="2369146"/>
                </a:cubicBezTo>
                <a:cubicBezTo>
                  <a:pt x="1861966" y="2369146"/>
                  <a:pt x="1866636" y="2368147"/>
                  <a:pt x="1866636" y="2368147"/>
                </a:cubicBezTo>
                <a:cubicBezTo>
                  <a:pt x="1867635" y="2372820"/>
                  <a:pt x="1867635" y="2372820"/>
                  <a:pt x="1867635" y="2372820"/>
                </a:cubicBezTo>
                <a:cubicBezTo>
                  <a:pt x="1863962" y="2378487"/>
                  <a:pt x="1863962" y="2378487"/>
                  <a:pt x="1863962" y="2378487"/>
                </a:cubicBezTo>
                <a:cubicBezTo>
                  <a:pt x="1860289" y="2384157"/>
                  <a:pt x="1860289" y="2384157"/>
                  <a:pt x="1864960" y="2383159"/>
                </a:cubicBezTo>
                <a:cubicBezTo>
                  <a:pt x="1864960" y="2383159"/>
                  <a:pt x="1864960" y="2383159"/>
                  <a:pt x="1869631" y="2382161"/>
                </a:cubicBezTo>
                <a:cubicBezTo>
                  <a:pt x="1868632" y="2377489"/>
                  <a:pt x="1868632" y="2377489"/>
                  <a:pt x="1868632" y="2377489"/>
                </a:cubicBezTo>
                <a:cubicBezTo>
                  <a:pt x="1872306" y="2371821"/>
                  <a:pt x="1872306" y="2371821"/>
                  <a:pt x="1872306" y="2371821"/>
                </a:cubicBezTo>
                <a:cubicBezTo>
                  <a:pt x="1871309" y="2367149"/>
                  <a:pt x="1871309" y="2367149"/>
                  <a:pt x="1870310" y="2362478"/>
                </a:cubicBezTo>
                <a:cubicBezTo>
                  <a:pt x="1870310" y="2362478"/>
                  <a:pt x="1865639" y="2363477"/>
                  <a:pt x="1865639" y="2363477"/>
                </a:cubicBezTo>
                <a:cubicBezTo>
                  <a:pt x="1874662" y="2337128"/>
                  <a:pt x="1874662" y="2337128"/>
                  <a:pt x="1877339" y="2326787"/>
                </a:cubicBezTo>
                <a:cubicBezTo>
                  <a:pt x="1869991" y="2338127"/>
                  <a:pt x="1868993" y="2333455"/>
                  <a:pt x="1864323" y="2334453"/>
                </a:cubicBezTo>
                <a:cubicBezTo>
                  <a:pt x="1867996" y="2328783"/>
                  <a:pt x="1871668" y="2323114"/>
                  <a:pt x="1875342" y="2317445"/>
                </a:cubicBezTo>
                <a:cubicBezTo>
                  <a:pt x="1879015" y="2311777"/>
                  <a:pt x="1882688" y="2306108"/>
                  <a:pt x="1886360" y="2300440"/>
                </a:cubicBezTo>
                <a:cubicBezTo>
                  <a:pt x="1890034" y="2294769"/>
                  <a:pt x="1889037" y="2290099"/>
                  <a:pt x="1893707" y="2289102"/>
                </a:cubicBezTo>
                <a:cubicBezTo>
                  <a:pt x="1893707" y="2289102"/>
                  <a:pt x="1894705" y="2293772"/>
                  <a:pt x="1895703" y="2298443"/>
                </a:cubicBezTo>
                <a:cubicBezTo>
                  <a:pt x="1905725" y="2276764"/>
                  <a:pt x="1905725" y="2276764"/>
                  <a:pt x="1905725" y="2276764"/>
                </a:cubicBezTo>
                <a:cubicBezTo>
                  <a:pt x="1910394" y="2275767"/>
                  <a:pt x="1910394" y="2275767"/>
                  <a:pt x="1910394" y="2275767"/>
                </a:cubicBezTo>
                <a:cubicBezTo>
                  <a:pt x="1911393" y="2280438"/>
                  <a:pt x="1911393" y="2280438"/>
                  <a:pt x="1912391" y="2285110"/>
                </a:cubicBezTo>
                <a:cubicBezTo>
                  <a:pt x="1917063" y="2284111"/>
                  <a:pt x="1917063" y="2284111"/>
                  <a:pt x="1917063" y="2284111"/>
                </a:cubicBezTo>
                <a:cubicBezTo>
                  <a:pt x="1917063" y="2284111"/>
                  <a:pt x="1916065" y="2279441"/>
                  <a:pt x="1916065" y="2279441"/>
                </a:cubicBezTo>
                <a:cubicBezTo>
                  <a:pt x="1920736" y="2278443"/>
                  <a:pt x="1920736" y="2278443"/>
                  <a:pt x="1920736" y="2278443"/>
                </a:cubicBezTo>
                <a:cubicBezTo>
                  <a:pt x="1919737" y="2273771"/>
                  <a:pt x="1919737" y="2273771"/>
                  <a:pt x="1918740" y="2269100"/>
                </a:cubicBezTo>
                <a:cubicBezTo>
                  <a:pt x="1918740" y="2269100"/>
                  <a:pt x="1918740" y="2269100"/>
                  <a:pt x="1922414" y="2263431"/>
                </a:cubicBezTo>
                <a:cubicBezTo>
                  <a:pt x="1922414" y="2263431"/>
                  <a:pt x="1922414" y="2263431"/>
                  <a:pt x="1926085" y="2257763"/>
                </a:cubicBezTo>
                <a:cubicBezTo>
                  <a:pt x="1926085" y="2257763"/>
                  <a:pt x="1930756" y="2256764"/>
                  <a:pt x="1930756" y="2256764"/>
                </a:cubicBezTo>
                <a:cubicBezTo>
                  <a:pt x="1930756" y="2256764"/>
                  <a:pt x="1931755" y="2261436"/>
                  <a:pt x="1931755" y="2261436"/>
                </a:cubicBezTo>
                <a:cubicBezTo>
                  <a:pt x="1928081" y="2267104"/>
                  <a:pt x="1929080" y="2271775"/>
                  <a:pt x="1929080" y="2271775"/>
                </a:cubicBezTo>
                <a:cubicBezTo>
                  <a:pt x="1924410" y="2272774"/>
                  <a:pt x="1925407" y="2277444"/>
                  <a:pt x="1926405" y="2282115"/>
                </a:cubicBezTo>
                <a:cubicBezTo>
                  <a:pt x="1930077" y="2276446"/>
                  <a:pt x="1930077" y="2276446"/>
                  <a:pt x="1934748" y="2275449"/>
                </a:cubicBezTo>
                <a:cubicBezTo>
                  <a:pt x="1937424" y="2265107"/>
                  <a:pt x="1936426" y="2260438"/>
                  <a:pt x="1940099" y="2254769"/>
                </a:cubicBezTo>
                <a:cubicBezTo>
                  <a:pt x="1940099" y="2254769"/>
                  <a:pt x="1939100" y="2250098"/>
                  <a:pt x="1939100" y="2250098"/>
                </a:cubicBezTo>
                <a:cubicBezTo>
                  <a:pt x="1942774" y="2244429"/>
                  <a:pt x="1941777" y="2239758"/>
                  <a:pt x="1940779" y="2235086"/>
                </a:cubicBezTo>
                <a:cubicBezTo>
                  <a:pt x="1945449" y="2234089"/>
                  <a:pt x="1945449" y="2234089"/>
                  <a:pt x="1945449" y="2234089"/>
                </a:cubicBezTo>
                <a:cubicBezTo>
                  <a:pt x="1956468" y="2217082"/>
                  <a:pt x="1975833" y="2193408"/>
                  <a:pt x="1985855" y="2171731"/>
                </a:cubicBezTo>
                <a:cubicBezTo>
                  <a:pt x="1985855" y="2171731"/>
                  <a:pt x="1989527" y="2166061"/>
                  <a:pt x="1989527" y="2166061"/>
                </a:cubicBezTo>
                <a:cubicBezTo>
                  <a:pt x="1989527" y="2166061"/>
                  <a:pt x="1994197" y="2165063"/>
                  <a:pt x="1993200" y="2160392"/>
                </a:cubicBezTo>
                <a:cubicBezTo>
                  <a:pt x="1997871" y="2159393"/>
                  <a:pt x="1996872" y="2154724"/>
                  <a:pt x="2000546" y="2149055"/>
                </a:cubicBezTo>
                <a:cubicBezTo>
                  <a:pt x="2000546" y="2149055"/>
                  <a:pt x="2004219" y="2143386"/>
                  <a:pt x="2004219" y="2143386"/>
                </a:cubicBezTo>
                <a:cubicBezTo>
                  <a:pt x="2007891" y="2137717"/>
                  <a:pt x="2011565" y="2132049"/>
                  <a:pt x="2015238" y="2126379"/>
                </a:cubicBezTo>
                <a:cubicBezTo>
                  <a:pt x="2019909" y="2125381"/>
                  <a:pt x="2023582" y="2119712"/>
                  <a:pt x="2022584" y="2115041"/>
                </a:cubicBezTo>
                <a:cubicBezTo>
                  <a:pt x="2027256" y="2114043"/>
                  <a:pt x="2027256" y="2114043"/>
                  <a:pt x="2027256" y="2114043"/>
                </a:cubicBezTo>
                <a:cubicBezTo>
                  <a:pt x="2030930" y="2108374"/>
                  <a:pt x="2040950" y="2086695"/>
                  <a:pt x="2057639" y="2073362"/>
                </a:cubicBezTo>
                <a:cubicBezTo>
                  <a:pt x="2058976" y="2068192"/>
                  <a:pt x="2064486" y="2059689"/>
                  <a:pt x="2070330" y="2049893"/>
                </a:cubicBezTo>
                <a:lnTo>
                  <a:pt x="2084675" y="2019414"/>
                </a:lnTo>
                <a:lnTo>
                  <a:pt x="2085251" y="2026039"/>
                </a:lnTo>
                <a:cubicBezTo>
                  <a:pt x="2087737" y="2037676"/>
                  <a:pt x="2077757" y="2047919"/>
                  <a:pt x="2069717" y="2057748"/>
                </a:cubicBezTo>
                <a:cubicBezTo>
                  <a:pt x="2017728" y="2127663"/>
                  <a:pt x="1974742" y="2201739"/>
                  <a:pt x="1934524" y="2279281"/>
                </a:cubicBezTo>
                <a:cubicBezTo>
                  <a:pt x="1930361" y="2288281"/>
                  <a:pt x="1909160" y="2302950"/>
                  <a:pt x="1942264" y="2306017"/>
                </a:cubicBezTo>
                <a:cubicBezTo>
                  <a:pt x="1960962" y="2308106"/>
                  <a:pt x="1944468" y="2325825"/>
                  <a:pt x="1939891" y="2332886"/>
                </a:cubicBezTo>
                <a:cubicBezTo>
                  <a:pt x="1849193" y="2506383"/>
                  <a:pt x="1784668" y="2688482"/>
                  <a:pt x="1744379" y="2879600"/>
                </a:cubicBezTo>
                <a:cubicBezTo>
                  <a:pt x="1692415" y="3129990"/>
                  <a:pt x="1689487" y="3382073"/>
                  <a:pt x="1717309" y="3635697"/>
                </a:cubicBezTo>
                <a:cubicBezTo>
                  <a:pt x="1717724" y="3637636"/>
                  <a:pt x="1718552" y="3641516"/>
                  <a:pt x="1724502" y="3650384"/>
                </a:cubicBezTo>
                <a:cubicBezTo>
                  <a:pt x="1752970" y="3536823"/>
                  <a:pt x="1709128" y="3426545"/>
                  <a:pt x="1738840" y="3318804"/>
                </a:cubicBezTo>
                <a:cubicBezTo>
                  <a:pt x="1737957" y="3400107"/>
                  <a:pt x="1779048" y="3478528"/>
                  <a:pt x="1762235" y="3561205"/>
                </a:cubicBezTo>
                <a:cubicBezTo>
                  <a:pt x="1759459" y="3571939"/>
                  <a:pt x="1758032" y="3581877"/>
                  <a:pt x="1759082" y="3591538"/>
                </a:cubicBezTo>
                <a:lnTo>
                  <a:pt x="1769723" y="3617611"/>
                </a:lnTo>
                <a:lnTo>
                  <a:pt x="1769321" y="3612476"/>
                </a:lnTo>
                <a:cubicBezTo>
                  <a:pt x="1768377" y="3343615"/>
                  <a:pt x="1773244" y="3074852"/>
                  <a:pt x="1833782" y="2810787"/>
                </a:cubicBezTo>
                <a:cubicBezTo>
                  <a:pt x="1865196" y="2671762"/>
                  <a:pt x="1915310" y="2539207"/>
                  <a:pt x="1970873" y="2408113"/>
                </a:cubicBezTo>
                <a:cubicBezTo>
                  <a:pt x="1988730" y="2363264"/>
                  <a:pt x="2010672" y="2319508"/>
                  <a:pt x="2031252" y="2275389"/>
                </a:cubicBezTo>
                <a:cubicBezTo>
                  <a:pt x="2040446" y="2257416"/>
                  <a:pt x="2051370" y="2238445"/>
                  <a:pt x="2065646" y="2223293"/>
                </a:cubicBezTo>
                <a:cubicBezTo>
                  <a:pt x="2085835" y="2202426"/>
                  <a:pt x="2098581" y="2176645"/>
                  <a:pt x="2102160" y="2146947"/>
                </a:cubicBezTo>
                <a:cubicBezTo>
                  <a:pt x="2103817" y="2129872"/>
                  <a:pt x="2111187" y="2118708"/>
                  <a:pt x="2129354" y="2116277"/>
                </a:cubicBezTo>
                <a:cubicBezTo>
                  <a:pt x="2150611" y="2113214"/>
                  <a:pt x="2162799" y="2100422"/>
                  <a:pt x="2168272" y="2079992"/>
                </a:cubicBezTo>
                <a:cubicBezTo>
                  <a:pt x="2176666" y="2048665"/>
                  <a:pt x="2195226" y="2022981"/>
                  <a:pt x="2217506" y="1999754"/>
                </a:cubicBezTo>
                <a:cubicBezTo>
                  <a:pt x="2256156" y="1959018"/>
                  <a:pt x="2296168" y="1918645"/>
                  <a:pt x="2332460" y="1875815"/>
                </a:cubicBezTo>
                <a:cubicBezTo>
                  <a:pt x="2437515" y="1750682"/>
                  <a:pt x="2572408" y="1661282"/>
                  <a:pt x="2704943" y="1569790"/>
                </a:cubicBezTo>
                <a:cubicBezTo>
                  <a:pt x="2789027" y="1512030"/>
                  <a:pt x="2871749" y="1453905"/>
                  <a:pt x="2964173" y="1408599"/>
                </a:cubicBezTo>
                <a:cubicBezTo>
                  <a:pt x="2970715" y="1405972"/>
                  <a:pt x="2977624" y="1401982"/>
                  <a:pt x="2984167" y="1399357"/>
                </a:cubicBezTo>
                <a:cubicBezTo>
                  <a:pt x="2995889" y="1393739"/>
                  <a:pt x="3004328" y="1400380"/>
                  <a:pt x="3008948" y="1410376"/>
                </a:cubicBezTo>
                <a:cubicBezTo>
                  <a:pt x="3013203" y="1421736"/>
                  <a:pt x="3003936" y="1423631"/>
                  <a:pt x="2995666" y="1427255"/>
                </a:cubicBezTo>
                <a:cubicBezTo>
                  <a:pt x="2947411" y="1449362"/>
                  <a:pt x="2899789" y="1474555"/>
                  <a:pt x="2856153" y="1506659"/>
                </a:cubicBezTo>
                <a:cubicBezTo>
                  <a:pt x="2848880" y="1512010"/>
                  <a:pt x="2840247" y="1516995"/>
                  <a:pt x="2836329" y="1526166"/>
                </a:cubicBezTo>
                <a:cubicBezTo>
                  <a:pt x="2835965" y="1527527"/>
                  <a:pt x="2833508" y="1531248"/>
                  <a:pt x="2834871" y="1531611"/>
                </a:cubicBezTo>
                <a:cubicBezTo>
                  <a:pt x="2836864" y="1535067"/>
                  <a:pt x="2838957" y="1532707"/>
                  <a:pt x="2839687" y="1529983"/>
                </a:cubicBezTo>
                <a:cubicBezTo>
                  <a:pt x="2929020" y="1485309"/>
                  <a:pt x="3015366" y="1435454"/>
                  <a:pt x="3105334" y="1393869"/>
                </a:cubicBezTo>
                <a:cubicBezTo>
                  <a:pt x="3133597" y="1381004"/>
                  <a:pt x="3161494" y="1369500"/>
                  <a:pt x="3190120" y="1355273"/>
                </a:cubicBezTo>
                <a:cubicBezTo>
                  <a:pt x="3193392" y="1353961"/>
                  <a:pt x="3197253" y="1353171"/>
                  <a:pt x="3200753" y="1351005"/>
                </a:cubicBezTo>
                <a:lnTo>
                  <a:pt x="3205367" y="1344182"/>
                </a:lnTo>
                <a:lnTo>
                  <a:pt x="3191596" y="1347596"/>
                </a:lnTo>
                <a:lnTo>
                  <a:pt x="3208716" y="1339231"/>
                </a:lnTo>
                <a:lnTo>
                  <a:pt x="3209214" y="1338493"/>
                </a:lnTo>
                <a:cubicBezTo>
                  <a:pt x="3157701" y="1350967"/>
                  <a:pt x="3114333" y="1387521"/>
                  <a:pt x="3058956" y="1365383"/>
                </a:cubicBezTo>
                <a:cubicBezTo>
                  <a:pt x="3107759" y="1341234"/>
                  <a:pt x="3157098" y="1319510"/>
                  <a:pt x="3207049" y="1300185"/>
                </a:cubicBezTo>
                <a:lnTo>
                  <a:pt x="3244299" y="1287715"/>
                </a:lnTo>
                <a:lnTo>
                  <a:pt x="3186359" y="1304100"/>
                </a:lnTo>
                <a:cubicBezTo>
                  <a:pt x="3129003" y="1320412"/>
                  <a:pt x="3072475" y="1340600"/>
                  <a:pt x="3018716" y="1364251"/>
                </a:cubicBezTo>
                <a:cubicBezTo>
                  <a:pt x="2962603" y="1386380"/>
                  <a:pt x="2911611" y="1413497"/>
                  <a:pt x="2856327" y="1439503"/>
                </a:cubicBezTo>
                <a:cubicBezTo>
                  <a:pt x="2851074" y="1424403"/>
                  <a:pt x="2869357" y="1424553"/>
                  <a:pt x="2869223" y="1414441"/>
                </a:cubicBezTo>
                <a:cubicBezTo>
                  <a:pt x="2866871" y="1412916"/>
                  <a:pt x="2864517" y="1411392"/>
                  <a:pt x="2862577" y="1411805"/>
                </a:cubicBezTo>
                <a:cubicBezTo>
                  <a:pt x="2823787" y="1420092"/>
                  <a:pt x="2790949" y="1437247"/>
                  <a:pt x="2756585" y="1456757"/>
                </a:cubicBezTo>
                <a:cubicBezTo>
                  <a:pt x="2653905" y="1517224"/>
                  <a:pt x="2556349" y="1582679"/>
                  <a:pt x="2462803" y="1657418"/>
                </a:cubicBezTo>
                <a:cubicBezTo>
                  <a:pt x="2442013" y="1674026"/>
                  <a:pt x="2420397" y="1686755"/>
                  <a:pt x="2392001" y="1686740"/>
                </a:cubicBezTo>
                <a:cubicBezTo>
                  <a:pt x="2365959" y="1688247"/>
                  <a:pt x="2348354" y="1710258"/>
                  <a:pt x="2329505" y="1726455"/>
                </a:cubicBezTo>
                <a:cubicBezTo>
                  <a:pt x="2313151" y="1740088"/>
                  <a:pt x="2296280" y="1751296"/>
                  <a:pt x="2277611" y="1758833"/>
                </a:cubicBezTo>
                <a:lnTo>
                  <a:pt x="2266239" y="1762069"/>
                </a:lnTo>
                <a:lnTo>
                  <a:pt x="2282854" y="1744404"/>
                </a:lnTo>
                <a:cubicBezTo>
                  <a:pt x="2311061" y="1716399"/>
                  <a:pt x="2341603" y="1687893"/>
                  <a:pt x="2374481" y="1658891"/>
                </a:cubicBezTo>
                <a:cubicBezTo>
                  <a:pt x="2407856" y="1632224"/>
                  <a:pt x="2470936" y="1584557"/>
                  <a:pt x="2515332" y="1540883"/>
                </a:cubicBezTo>
                <a:cubicBezTo>
                  <a:pt x="2563719" y="1515893"/>
                  <a:pt x="2608115" y="1472217"/>
                  <a:pt x="2663850" y="1435891"/>
                </a:cubicBezTo>
                <a:cubicBezTo>
                  <a:pt x="2667523" y="1430220"/>
                  <a:pt x="2673191" y="1433894"/>
                  <a:pt x="2681537" y="1427227"/>
                </a:cubicBezTo>
                <a:cubicBezTo>
                  <a:pt x="2776315" y="1367905"/>
                  <a:pt x="2881435" y="1311257"/>
                  <a:pt x="2987551" y="1259281"/>
                </a:cubicBezTo>
                <a:cubicBezTo>
                  <a:pt x="3041109" y="1235627"/>
                  <a:pt x="3095166" y="1214310"/>
                  <a:pt x="3149720" y="1195329"/>
                </a:cubicBezTo>
                <a:lnTo>
                  <a:pt x="3259829" y="1162036"/>
                </a:lnTo>
                <a:lnTo>
                  <a:pt x="3210739" y="1178017"/>
                </a:lnTo>
                <a:cubicBezTo>
                  <a:pt x="3193848" y="1184679"/>
                  <a:pt x="3178247" y="1191675"/>
                  <a:pt x="3169403" y="1196006"/>
                </a:cubicBezTo>
                <a:cubicBezTo>
                  <a:pt x="3164732" y="1197005"/>
                  <a:pt x="3164732" y="1197005"/>
                  <a:pt x="3164732" y="1197005"/>
                </a:cubicBezTo>
                <a:cubicBezTo>
                  <a:pt x="3115346" y="1217324"/>
                  <a:pt x="3083647" y="1228980"/>
                  <a:pt x="3029591" y="1250298"/>
                </a:cubicBezTo>
                <a:cubicBezTo>
                  <a:pt x="3024920" y="1251297"/>
                  <a:pt x="3024920" y="1251297"/>
                  <a:pt x="3024920" y="1251297"/>
                </a:cubicBezTo>
                <a:cubicBezTo>
                  <a:pt x="3025917" y="1255966"/>
                  <a:pt x="3021247" y="1256965"/>
                  <a:pt x="3025917" y="1255966"/>
                </a:cubicBezTo>
                <a:cubicBezTo>
                  <a:pt x="3025917" y="1255966"/>
                  <a:pt x="3030589" y="1254969"/>
                  <a:pt x="3035260" y="1253970"/>
                </a:cubicBezTo>
                <a:cubicBezTo>
                  <a:pt x="3084644" y="1233653"/>
                  <a:pt x="3121016" y="1220997"/>
                  <a:pt x="3165731" y="1201677"/>
                </a:cubicBezTo>
                <a:cubicBezTo>
                  <a:pt x="3166728" y="1206348"/>
                  <a:pt x="3166728" y="1206348"/>
                  <a:pt x="3171401" y="1205351"/>
                </a:cubicBezTo>
                <a:cubicBezTo>
                  <a:pt x="3171401" y="1205351"/>
                  <a:pt x="3176071" y="1204352"/>
                  <a:pt x="3176071" y="1204352"/>
                </a:cubicBezTo>
                <a:cubicBezTo>
                  <a:pt x="3176071" y="1204352"/>
                  <a:pt x="3176071" y="1204352"/>
                  <a:pt x="3175073" y="1199680"/>
                </a:cubicBezTo>
                <a:cubicBezTo>
                  <a:pt x="3215116" y="1181357"/>
                  <a:pt x="3264821" y="1185391"/>
                  <a:pt x="3270170" y="1164711"/>
                </a:cubicBezTo>
                <a:lnTo>
                  <a:pt x="3288855" y="1160719"/>
                </a:lnTo>
                <a:cubicBezTo>
                  <a:pt x="3293525" y="1159721"/>
                  <a:pt x="3298195" y="1158724"/>
                  <a:pt x="3298195" y="1158724"/>
                </a:cubicBezTo>
                <a:cubicBezTo>
                  <a:pt x="3299194" y="1163394"/>
                  <a:pt x="3301190" y="1172736"/>
                  <a:pt x="3297518" y="1178405"/>
                </a:cubicBezTo>
                <a:cubicBezTo>
                  <a:pt x="3292847" y="1179404"/>
                  <a:pt x="3288175" y="1180401"/>
                  <a:pt x="3283504" y="1181399"/>
                </a:cubicBezTo>
                <a:cubicBezTo>
                  <a:pt x="3269491" y="1184393"/>
                  <a:pt x="3261147" y="1191060"/>
                  <a:pt x="3251805" y="1193056"/>
                </a:cubicBezTo>
                <a:cubicBezTo>
                  <a:pt x="3251805" y="1193056"/>
                  <a:pt x="3247133" y="1194053"/>
                  <a:pt x="3247133" y="1194053"/>
                </a:cubicBezTo>
                <a:cubicBezTo>
                  <a:pt x="3243461" y="1199722"/>
                  <a:pt x="3238789" y="1200720"/>
                  <a:pt x="3234118" y="1201718"/>
                </a:cubicBezTo>
                <a:cubicBezTo>
                  <a:pt x="3234118" y="1201718"/>
                  <a:pt x="3229448" y="1202715"/>
                  <a:pt x="3229448" y="1202715"/>
                </a:cubicBezTo>
                <a:cubicBezTo>
                  <a:pt x="3230447" y="1207386"/>
                  <a:pt x="3235117" y="1206389"/>
                  <a:pt x="3235117" y="1206389"/>
                </a:cubicBezTo>
                <a:cubicBezTo>
                  <a:pt x="3244459" y="1204394"/>
                  <a:pt x="3243461" y="1199722"/>
                  <a:pt x="3248132" y="1198724"/>
                </a:cubicBezTo>
                <a:cubicBezTo>
                  <a:pt x="3248132" y="1198724"/>
                  <a:pt x="3248132" y="1198724"/>
                  <a:pt x="3252802" y="1197727"/>
                </a:cubicBezTo>
                <a:cubicBezTo>
                  <a:pt x="3248132" y="1198724"/>
                  <a:pt x="3249131" y="1203396"/>
                  <a:pt x="3249131" y="1203396"/>
                </a:cubicBezTo>
                <a:cubicBezTo>
                  <a:pt x="3249131" y="1203396"/>
                  <a:pt x="3253801" y="1202397"/>
                  <a:pt x="3253801" y="1202397"/>
                </a:cubicBezTo>
                <a:cubicBezTo>
                  <a:pt x="3258472" y="1201400"/>
                  <a:pt x="3263143" y="1200401"/>
                  <a:pt x="3263143" y="1200401"/>
                </a:cubicBezTo>
                <a:cubicBezTo>
                  <a:pt x="3263143" y="1200401"/>
                  <a:pt x="3262146" y="1195729"/>
                  <a:pt x="3262146" y="1195729"/>
                </a:cubicBezTo>
                <a:cubicBezTo>
                  <a:pt x="3266816" y="1194732"/>
                  <a:pt x="3275160" y="1188065"/>
                  <a:pt x="3279831" y="1187067"/>
                </a:cubicBezTo>
                <a:cubicBezTo>
                  <a:pt x="3289174" y="1185071"/>
                  <a:pt x="3293844" y="1184074"/>
                  <a:pt x="3303187" y="1182078"/>
                </a:cubicBezTo>
                <a:cubicBezTo>
                  <a:pt x="3326541" y="1177088"/>
                  <a:pt x="3326541" y="1177088"/>
                  <a:pt x="3326541" y="1177088"/>
                </a:cubicBezTo>
                <a:cubicBezTo>
                  <a:pt x="3331213" y="1176089"/>
                  <a:pt x="3334885" y="1170421"/>
                  <a:pt x="3334885" y="1170421"/>
                </a:cubicBezTo>
                <a:cubicBezTo>
                  <a:pt x="3334885" y="1170421"/>
                  <a:pt x="3330215" y="1171419"/>
                  <a:pt x="3325543" y="1172418"/>
                </a:cubicBezTo>
                <a:cubicBezTo>
                  <a:pt x="3306859" y="1176409"/>
                  <a:pt x="3306859" y="1176409"/>
                  <a:pt x="3306859" y="1176409"/>
                </a:cubicBezTo>
                <a:cubicBezTo>
                  <a:pt x="3309534" y="1166069"/>
                  <a:pt x="3313208" y="1160400"/>
                  <a:pt x="3312209" y="1155729"/>
                </a:cubicBezTo>
                <a:cubicBezTo>
                  <a:pt x="3311211" y="1151058"/>
                  <a:pt x="3311211" y="1151058"/>
                  <a:pt x="3311211" y="1151058"/>
                </a:cubicBezTo>
                <a:cubicBezTo>
                  <a:pt x="3315882" y="1150059"/>
                  <a:pt x="3315882" y="1150059"/>
                  <a:pt x="3320555" y="1149062"/>
                </a:cubicBezTo>
                <a:cubicBezTo>
                  <a:pt x="3324227" y="1143393"/>
                  <a:pt x="3324227" y="1143393"/>
                  <a:pt x="3324227" y="1143393"/>
                </a:cubicBezTo>
                <a:cubicBezTo>
                  <a:pt x="3318557" y="1139720"/>
                  <a:pt x="3318557" y="1139720"/>
                  <a:pt x="3318557" y="1139720"/>
                </a:cubicBezTo>
                <a:cubicBezTo>
                  <a:pt x="3323230" y="1138722"/>
                  <a:pt x="3323230" y="1138722"/>
                  <a:pt x="3323230" y="1138722"/>
                </a:cubicBezTo>
                <a:cubicBezTo>
                  <a:pt x="3342911" y="1139401"/>
                  <a:pt x="3374612" y="1127745"/>
                  <a:pt x="3402637" y="1121757"/>
                </a:cubicBezTo>
                <a:cubicBezTo>
                  <a:pt x="3394293" y="1128423"/>
                  <a:pt x="3346584" y="1133732"/>
                  <a:pt x="3348580" y="1143073"/>
                </a:cubicBezTo>
                <a:lnTo>
                  <a:pt x="3343909" y="1144072"/>
                </a:lnTo>
                <a:cubicBezTo>
                  <a:pt x="3339239" y="1145071"/>
                  <a:pt x="3329895" y="1147066"/>
                  <a:pt x="3325225" y="1148063"/>
                </a:cubicBezTo>
                <a:cubicBezTo>
                  <a:pt x="3321552" y="1153733"/>
                  <a:pt x="3321552" y="1153733"/>
                  <a:pt x="3321552" y="1153733"/>
                </a:cubicBezTo>
                <a:cubicBezTo>
                  <a:pt x="3321552" y="1153733"/>
                  <a:pt x="3327221" y="1157406"/>
                  <a:pt x="3327221" y="1157406"/>
                </a:cubicBezTo>
                <a:cubicBezTo>
                  <a:pt x="3331892" y="1156408"/>
                  <a:pt x="3331892" y="1156408"/>
                  <a:pt x="3331892" y="1156408"/>
                </a:cubicBezTo>
                <a:cubicBezTo>
                  <a:pt x="3331892" y="1156408"/>
                  <a:pt x="3335565" y="1150740"/>
                  <a:pt x="3335565" y="1150740"/>
                </a:cubicBezTo>
                <a:cubicBezTo>
                  <a:pt x="3335565" y="1150740"/>
                  <a:pt x="3340236" y="1149741"/>
                  <a:pt x="3340236" y="1149741"/>
                </a:cubicBezTo>
                <a:cubicBezTo>
                  <a:pt x="3344907" y="1148743"/>
                  <a:pt x="3349577" y="1147746"/>
                  <a:pt x="3358920" y="1145750"/>
                </a:cubicBezTo>
                <a:cubicBezTo>
                  <a:pt x="3377604" y="1141758"/>
                  <a:pt x="3359919" y="1150420"/>
                  <a:pt x="3369260" y="1148425"/>
                </a:cubicBezTo>
                <a:cubicBezTo>
                  <a:pt x="3377604" y="1141758"/>
                  <a:pt x="3398285" y="1147107"/>
                  <a:pt x="3402955" y="1146109"/>
                </a:cubicBezTo>
                <a:cubicBezTo>
                  <a:pt x="3401956" y="1141439"/>
                  <a:pt x="3400959" y="1136768"/>
                  <a:pt x="3405630" y="1135769"/>
                </a:cubicBezTo>
                <a:cubicBezTo>
                  <a:pt x="3411300" y="1139443"/>
                  <a:pt x="3406629" y="1140442"/>
                  <a:pt x="3415970" y="1138446"/>
                </a:cubicBezTo>
                <a:cubicBezTo>
                  <a:pt x="3414971" y="1133775"/>
                  <a:pt x="3428985" y="1130780"/>
                  <a:pt x="3438328" y="1128784"/>
                </a:cubicBezTo>
                <a:cubicBezTo>
                  <a:pt x="3435651" y="1139124"/>
                  <a:pt x="3471025" y="1121798"/>
                  <a:pt x="3471025" y="1121798"/>
                </a:cubicBezTo>
                <a:cubicBezTo>
                  <a:pt x="3474697" y="1116129"/>
                  <a:pt x="3474697" y="1116129"/>
                  <a:pt x="3474697" y="1116129"/>
                </a:cubicBezTo>
                <a:cubicBezTo>
                  <a:pt x="3488711" y="1113136"/>
                  <a:pt x="3476695" y="1125472"/>
                  <a:pt x="3490707" y="1122479"/>
                </a:cubicBezTo>
                <a:cubicBezTo>
                  <a:pt x="3499051" y="1115811"/>
                  <a:pt x="3502725" y="1110142"/>
                  <a:pt x="3526079" y="1105153"/>
                </a:cubicBezTo>
                <a:cubicBezTo>
                  <a:pt x="3540093" y="1102158"/>
                  <a:pt x="3555104" y="1103836"/>
                  <a:pt x="3569117" y="1100842"/>
                </a:cubicBezTo>
                <a:cubicBezTo>
                  <a:pt x="3573788" y="1099844"/>
                  <a:pt x="3578459" y="1098846"/>
                  <a:pt x="3583129" y="1097849"/>
                </a:cubicBezTo>
                <a:cubicBezTo>
                  <a:pt x="3611156" y="1091861"/>
                  <a:pt x="3588799" y="1101522"/>
                  <a:pt x="3613152" y="1101202"/>
                </a:cubicBezTo>
                <a:cubicBezTo>
                  <a:pt x="3629841" y="1087868"/>
                  <a:pt x="3694555" y="1093580"/>
                  <a:pt x="3706573" y="1081242"/>
                </a:cubicBezTo>
                <a:lnTo>
                  <a:pt x="3708908" y="1080744"/>
                </a:lnTo>
                <a:cubicBezTo>
                  <a:pt x="3715914" y="1079247"/>
                  <a:pt x="3725257" y="1077251"/>
                  <a:pt x="3725257" y="1077251"/>
                </a:cubicBezTo>
                <a:cubicBezTo>
                  <a:pt x="3729928" y="1076254"/>
                  <a:pt x="3729928" y="1076254"/>
                  <a:pt x="3729928" y="1076254"/>
                </a:cubicBezTo>
                <a:cubicBezTo>
                  <a:pt x="3729928" y="1076254"/>
                  <a:pt x="3734599" y="1075255"/>
                  <a:pt x="3739269" y="1074258"/>
                </a:cubicBezTo>
                <a:cubicBezTo>
                  <a:pt x="3796321" y="1066953"/>
                  <a:pt x="3829017" y="1059968"/>
                  <a:pt x="3866705" y="1076336"/>
                </a:cubicBezTo>
                <a:cubicBezTo>
                  <a:pt x="3869380" y="1065996"/>
                  <a:pt x="3910740" y="1076699"/>
                  <a:pt x="3919084" y="1070031"/>
                </a:cubicBezTo>
                <a:cubicBezTo>
                  <a:pt x="3908744" y="1067356"/>
                  <a:pt x="3948108" y="1068716"/>
                  <a:pt x="3951782" y="1063046"/>
                </a:cubicBezTo>
                <a:cubicBezTo>
                  <a:pt x="3952779" y="1067717"/>
                  <a:pt x="3948108" y="1068716"/>
                  <a:pt x="3943436" y="1069713"/>
                </a:cubicBezTo>
                <a:cubicBezTo>
                  <a:pt x="3963959" y="1062885"/>
                  <a:pt x="3981973" y="1061480"/>
                  <a:pt x="4000821" y="1061115"/>
                </a:cubicBezTo>
                <a:lnTo>
                  <a:pt x="4059509" y="1058914"/>
                </a:lnTo>
                <a:lnTo>
                  <a:pt x="4065917" y="1060029"/>
                </a:lnTo>
                <a:cubicBezTo>
                  <a:pt x="4072129" y="1060534"/>
                  <a:pt x="4080553" y="1059956"/>
                  <a:pt x="4081891" y="1054786"/>
                </a:cubicBezTo>
                <a:close/>
                <a:moveTo>
                  <a:pt x="3073381" y="1003429"/>
                </a:moveTo>
                <a:lnTo>
                  <a:pt x="3075110" y="1006131"/>
                </a:lnTo>
                <a:cubicBezTo>
                  <a:pt x="3075110" y="1006131"/>
                  <a:pt x="3070439" y="1007129"/>
                  <a:pt x="3070439" y="1007129"/>
                </a:cubicBezTo>
                <a:cubicBezTo>
                  <a:pt x="3065769" y="1008126"/>
                  <a:pt x="3061097" y="1009125"/>
                  <a:pt x="3062096" y="1013796"/>
                </a:cubicBezTo>
                <a:cubicBezTo>
                  <a:pt x="3062096" y="1013796"/>
                  <a:pt x="3062096" y="1013796"/>
                  <a:pt x="3066767" y="1012799"/>
                </a:cubicBezTo>
                <a:cubicBezTo>
                  <a:pt x="3071437" y="1011800"/>
                  <a:pt x="3071437" y="1011800"/>
                  <a:pt x="3071437" y="1011800"/>
                </a:cubicBezTo>
                <a:cubicBezTo>
                  <a:pt x="3038741" y="1018786"/>
                  <a:pt x="2980013" y="1041101"/>
                  <a:pt x="2960649" y="1064775"/>
                </a:cubicBezTo>
                <a:cubicBezTo>
                  <a:pt x="2950141" y="1067019"/>
                  <a:pt x="2938419" y="1070746"/>
                  <a:pt x="2925558" y="1075554"/>
                </a:cubicBezTo>
                <a:lnTo>
                  <a:pt x="2899162" y="1086428"/>
                </a:lnTo>
                <a:lnTo>
                  <a:pt x="2903371" y="1080657"/>
                </a:lnTo>
                <a:cubicBezTo>
                  <a:pt x="2910167" y="1065009"/>
                  <a:pt x="2925269" y="1059755"/>
                  <a:pt x="2939957" y="1052562"/>
                </a:cubicBezTo>
                <a:close/>
                <a:moveTo>
                  <a:pt x="5800514" y="966736"/>
                </a:moveTo>
                <a:lnTo>
                  <a:pt x="5823561" y="985857"/>
                </a:lnTo>
                <a:lnTo>
                  <a:pt x="5812369" y="974867"/>
                </a:lnTo>
                <a:close/>
                <a:moveTo>
                  <a:pt x="4691065" y="966665"/>
                </a:moveTo>
                <a:lnTo>
                  <a:pt x="4697929" y="967981"/>
                </a:lnTo>
                <a:lnTo>
                  <a:pt x="4702739" y="970365"/>
                </a:lnTo>
                <a:close/>
                <a:moveTo>
                  <a:pt x="3242294" y="953477"/>
                </a:moveTo>
                <a:lnTo>
                  <a:pt x="3244945" y="955193"/>
                </a:lnTo>
                <a:cubicBezTo>
                  <a:pt x="3235603" y="957189"/>
                  <a:pt x="3226260" y="959187"/>
                  <a:pt x="3222587" y="964854"/>
                </a:cubicBezTo>
                <a:cubicBezTo>
                  <a:pt x="3217918" y="965853"/>
                  <a:pt x="3208575" y="967849"/>
                  <a:pt x="3203904" y="968846"/>
                </a:cubicBezTo>
                <a:cubicBezTo>
                  <a:pt x="3189891" y="971840"/>
                  <a:pt x="3180549" y="973837"/>
                  <a:pt x="3166536" y="976829"/>
                </a:cubicBezTo>
                <a:cubicBezTo>
                  <a:pt x="3143181" y="981820"/>
                  <a:pt x="3126491" y="995154"/>
                  <a:pt x="3102137" y="995473"/>
                </a:cubicBezTo>
                <a:lnTo>
                  <a:pt x="3102436" y="994324"/>
                </a:lnTo>
                <a:lnTo>
                  <a:pt x="3217427" y="959472"/>
                </a:lnTo>
                <a:close/>
                <a:moveTo>
                  <a:pt x="3376913" y="922116"/>
                </a:moveTo>
                <a:lnTo>
                  <a:pt x="3336954" y="930653"/>
                </a:lnTo>
                <a:lnTo>
                  <a:pt x="3358282" y="925510"/>
                </a:lnTo>
                <a:close/>
                <a:moveTo>
                  <a:pt x="3950309" y="744665"/>
                </a:moveTo>
                <a:cubicBezTo>
                  <a:pt x="4249637" y="736884"/>
                  <a:pt x="4545266" y="777512"/>
                  <a:pt x="4826941" y="861419"/>
                </a:cubicBezTo>
                <a:cubicBezTo>
                  <a:pt x="4817601" y="863415"/>
                  <a:pt x="4811931" y="859742"/>
                  <a:pt x="4812928" y="864412"/>
                </a:cubicBezTo>
                <a:cubicBezTo>
                  <a:pt x="4851613" y="885453"/>
                  <a:pt x="4859958" y="878787"/>
                  <a:pt x="4895649" y="885814"/>
                </a:cubicBezTo>
                <a:cubicBezTo>
                  <a:pt x="4926669" y="893839"/>
                  <a:pt x="4963358" y="905536"/>
                  <a:pt x="4995377" y="918233"/>
                </a:cubicBezTo>
                <a:cubicBezTo>
                  <a:pt x="5002043" y="926578"/>
                  <a:pt x="5044401" y="941949"/>
                  <a:pt x="5053743" y="939953"/>
                </a:cubicBezTo>
                <a:cubicBezTo>
                  <a:pt x="5054740" y="944624"/>
                  <a:pt x="5054740" y="944624"/>
                  <a:pt x="5054740" y="944624"/>
                </a:cubicBezTo>
                <a:cubicBezTo>
                  <a:pt x="5059411" y="943626"/>
                  <a:pt x="5059411" y="943626"/>
                  <a:pt x="5059411" y="943626"/>
                </a:cubicBezTo>
                <a:cubicBezTo>
                  <a:pt x="5060410" y="948297"/>
                  <a:pt x="5060410" y="948297"/>
                  <a:pt x="5065081" y="947300"/>
                </a:cubicBezTo>
                <a:cubicBezTo>
                  <a:pt x="5069751" y="946301"/>
                  <a:pt x="5069751" y="946301"/>
                  <a:pt x="5075420" y="949975"/>
                </a:cubicBezTo>
                <a:cubicBezTo>
                  <a:pt x="5081090" y="953649"/>
                  <a:pt x="5097099" y="959996"/>
                  <a:pt x="5101770" y="958998"/>
                </a:cubicBezTo>
                <a:cubicBezTo>
                  <a:pt x="5129117" y="972692"/>
                  <a:pt x="5156463" y="986386"/>
                  <a:pt x="5187483" y="994412"/>
                </a:cubicBezTo>
                <a:cubicBezTo>
                  <a:pt x="5198821" y="1001757"/>
                  <a:pt x="5210159" y="1009104"/>
                  <a:pt x="5220499" y="1011779"/>
                </a:cubicBezTo>
                <a:cubicBezTo>
                  <a:pt x="5247847" y="1025473"/>
                  <a:pt x="5275193" y="1039168"/>
                  <a:pt x="5296871" y="1049189"/>
                </a:cubicBezTo>
                <a:cubicBezTo>
                  <a:pt x="5296871" y="1049189"/>
                  <a:pt x="5292201" y="1050187"/>
                  <a:pt x="5292201" y="1050187"/>
                </a:cubicBezTo>
                <a:cubicBezTo>
                  <a:pt x="5297869" y="1053861"/>
                  <a:pt x="5303538" y="1057532"/>
                  <a:pt x="5308209" y="1056534"/>
                </a:cubicBezTo>
                <a:cubicBezTo>
                  <a:pt x="5631701" y="1221864"/>
                  <a:pt x="5925129" y="1452227"/>
                  <a:pt x="6165817" y="1732932"/>
                </a:cubicBezTo>
                <a:cubicBezTo>
                  <a:pt x="6298157" y="1895142"/>
                  <a:pt x="6412891" y="2072104"/>
                  <a:pt x="6507308" y="2262564"/>
                </a:cubicBezTo>
                <a:lnTo>
                  <a:pt x="6530564" y="2317112"/>
                </a:lnTo>
                <a:lnTo>
                  <a:pt x="6530564" y="2701060"/>
                </a:lnTo>
                <a:lnTo>
                  <a:pt x="6526175" y="2710932"/>
                </a:lnTo>
                <a:cubicBezTo>
                  <a:pt x="6503179" y="2671888"/>
                  <a:pt x="6478867" y="2603819"/>
                  <a:pt x="6455513" y="2608808"/>
                </a:cubicBezTo>
                <a:cubicBezTo>
                  <a:pt x="6455513" y="2608808"/>
                  <a:pt x="6454515" y="2604137"/>
                  <a:pt x="6454515" y="2604137"/>
                </a:cubicBezTo>
                <a:cubicBezTo>
                  <a:pt x="6454515" y="2604137"/>
                  <a:pt x="6452519" y="2594796"/>
                  <a:pt x="6452519" y="2594796"/>
                </a:cubicBezTo>
                <a:cubicBezTo>
                  <a:pt x="6446850" y="2591122"/>
                  <a:pt x="6445853" y="2586451"/>
                  <a:pt x="6446850" y="2591122"/>
                </a:cubicBezTo>
                <a:cubicBezTo>
                  <a:pt x="6440184" y="2582777"/>
                  <a:pt x="6437191" y="2568765"/>
                  <a:pt x="6421859" y="2542736"/>
                </a:cubicBezTo>
                <a:cubicBezTo>
                  <a:pt x="6415193" y="2534391"/>
                  <a:pt x="6414195" y="2529719"/>
                  <a:pt x="6413197" y="2525048"/>
                </a:cubicBezTo>
                <a:cubicBezTo>
                  <a:pt x="6413197" y="2525048"/>
                  <a:pt x="6407529" y="2521375"/>
                  <a:pt x="6407529" y="2521375"/>
                </a:cubicBezTo>
                <a:cubicBezTo>
                  <a:pt x="6406530" y="2516706"/>
                  <a:pt x="6406530" y="2516706"/>
                  <a:pt x="6406530" y="2516706"/>
                </a:cubicBezTo>
                <a:cubicBezTo>
                  <a:pt x="6405533" y="2512033"/>
                  <a:pt x="6401861" y="2517703"/>
                  <a:pt x="6401861" y="2517703"/>
                </a:cubicBezTo>
                <a:cubicBezTo>
                  <a:pt x="6400861" y="2513032"/>
                  <a:pt x="6400861" y="2513032"/>
                  <a:pt x="6400861" y="2513032"/>
                </a:cubicBezTo>
                <a:cubicBezTo>
                  <a:pt x="6396191" y="2514030"/>
                  <a:pt x="6392199" y="2495345"/>
                  <a:pt x="6387528" y="2496344"/>
                </a:cubicBezTo>
                <a:cubicBezTo>
                  <a:pt x="6397189" y="2518700"/>
                  <a:pt x="6388527" y="2501014"/>
                  <a:pt x="6385850" y="2511354"/>
                </a:cubicBezTo>
                <a:cubicBezTo>
                  <a:pt x="6375192" y="2484326"/>
                  <a:pt x="6383175" y="2521695"/>
                  <a:pt x="6374513" y="2504009"/>
                </a:cubicBezTo>
                <a:cubicBezTo>
                  <a:pt x="6363855" y="2476981"/>
                  <a:pt x="6359182" y="2477980"/>
                  <a:pt x="6360859" y="2462967"/>
                </a:cubicBezTo>
                <a:cubicBezTo>
                  <a:pt x="6346847" y="2465962"/>
                  <a:pt x="6323533" y="2402563"/>
                  <a:pt x="6299541" y="2358847"/>
                </a:cubicBezTo>
                <a:cubicBezTo>
                  <a:pt x="6298543" y="2354175"/>
                  <a:pt x="6291875" y="2345832"/>
                  <a:pt x="6284212" y="2332816"/>
                </a:cubicBezTo>
                <a:cubicBezTo>
                  <a:pt x="6261217" y="2293772"/>
                  <a:pt x="6245888" y="2267742"/>
                  <a:pt x="6231556" y="2246383"/>
                </a:cubicBezTo>
                <a:cubicBezTo>
                  <a:pt x="6224890" y="2238037"/>
                  <a:pt x="6230559" y="2241711"/>
                  <a:pt x="6228563" y="2232369"/>
                </a:cubicBezTo>
                <a:cubicBezTo>
                  <a:pt x="6223891" y="2233367"/>
                  <a:pt x="6218223" y="2229693"/>
                  <a:pt x="6217223" y="2225023"/>
                </a:cubicBezTo>
                <a:cubicBezTo>
                  <a:pt x="6216227" y="2220352"/>
                  <a:pt x="6228563" y="2232369"/>
                  <a:pt x="6220897" y="2219353"/>
                </a:cubicBezTo>
                <a:cubicBezTo>
                  <a:pt x="6201894" y="2198991"/>
                  <a:pt x="6205567" y="2193324"/>
                  <a:pt x="6178901" y="2159947"/>
                </a:cubicBezTo>
                <a:cubicBezTo>
                  <a:pt x="6188241" y="2157951"/>
                  <a:pt x="6188241" y="2157951"/>
                  <a:pt x="6188241" y="2157951"/>
                </a:cubicBezTo>
                <a:cubicBezTo>
                  <a:pt x="6173910" y="2136592"/>
                  <a:pt x="6167243" y="2128248"/>
                  <a:pt x="6171235" y="2146932"/>
                </a:cubicBezTo>
                <a:cubicBezTo>
                  <a:pt x="6158899" y="2134916"/>
                  <a:pt x="6167243" y="2128248"/>
                  <a:pt x="6150235" y="2117229"/>
                </a:cubicBezTo>
                <a:cubicBezTo>
                  <a:pt x="6155904" y="2120903"/>
                  <a:pt x="6154907" y="2116231"/>
                  <a:pt x="6149238" y="2112559"/>
                </a:cubicBezTo>
                <a:cubicBezTo>
                  <a:pt x="6153909" y="2111560"/>
                  <a:pt x="6153909" y="2111560"/>
                  <a:pt x="6153909" y="2111560"/>
                </a:cubicBezTo>
                <a:cubicBezTo>
                  <a:pt x="6159578" y="2115233"/>
                  <a:pt x="6158581" y="2110562"/>
                  <a:pt x="6158581" y="2110562"/>
                </a:cubicBezTo>
                <a:cubicBezTo>
                  <a:pt x="6157582" y="2105892"/>
                  <a:pt x="6157582" y="2105892"/>
                  <a:pt x="6157582" y="2105892"/>
                </a:cubicBezTo>
                <a:cubicBezTo>
                  <a:pt x="6170917" y="2122580"/>
                  <a:pt x="6160257" y="2095550"/>
                  <a:pt x="6147921" y="2083534"/>
                </a:cubicBezTo>
                <a:cubicBezTo>
                  <a:pt x="6152592" y="2082535"/>
                  <a:pt x="6152592" y="2082535"/>
                  <a:pt x="6152592" y="2082535"/>
                </a:cubicBezTo>
                <a:cubicBezTo>
                  <a:pt x="6152592" y="2082535"/>
                  <a:pt x="6152592" y="2082535"/>
                  <a:pt x="6151595" y="2077865"/>
                </a:cubicBezTo>
                <a:cubicBezTo>
                  <a:pt x="6151595" y="2077865"/>
                  <a:pt x="6145926" y="2074193"/>
                  <a:pt x="6145926" y="2074193"/>
                </a:cubicBezTo>
                <a:cubicBezTo>
                  <a:pt x="6131594" y="2052834"/>
                  <a:pt x="6110595" y="2023131"/>
                  <a:pt x="6089597" y="1993426"/>
                </a:cubicBezTo>
                <a:cubicBezTo>
                  <a:pt x="6063927" y="1964722"/>
                  <a:pt x="6038257" y="1936016"/>
                  <a:pt x="6019255" y="1915656"/>
                </a:cubicBezTo>
                <a:cubicBezTo>
                  <a:pt x="6010591" y="1897969"/>
                  <a:pt x="5985919" y="1873934"/>
                  <a:pt x="5960249" y="1845230"/>
                </a:cubicBezTo>
                <a:cubicBezTo>
                  <a:pt x="5940249" y="1820198"/>
                  <a:pt x="5914579" y="1791491"/>
                  <a:pt x="5903921" y="1764465"/>
                </a:cubicBezTo>
                <a:cubicBezTo>
                  <a:pt x="5893581" y="1761789"/>
                  <a:pt x="5881245" y="1749773"/>
                  <a:pt x="5875576" y="1746097"/>
                </a:cubicBezTo>
                <a:cubicBezTo>
                  <a:pt x="5875576" y="1746097"/>
                  <a:pt x="5874577" y="1741428"/>
                  <a:pt x="5874577" y="1741428"/>
                </a:cubicBezTo>
                <a:cubicBezTo>
                  <a:pt x="5868909" y="1737755"/>
                  <a:pt x="5868909" y="1737755"/>
                  <a:pt x="5867911" y="1733084"/>
                </a:cubicBezTo>
                <a:cubicBezTo>
                  <a:pt x="5863240" y="1734081"/>
                  <a:pt x="5863240" y="1734081"/>
                  <a:pt x="5864239" y="1738752"/>
                </a:cubicBezTo>
                <a:cubicBezTo>
                  <a:pt x="5817569" y="1680344"/>
                  <a:pt x="5734213" y="1610238"/>
                  <a:pt x="5653531" y="1529790"/>
                </a:cubicBezTo>
                <a:cubicBezTo>
                  <a:pt x="5653531" y="1529790"/>
                  <a:pt x="5653531" y="1529790"/>
                  <a:pt x="5652531" y="1525119"/>
                </a:cubicBezTo>
                <a:cubicBezTo>
                  <a:pt x="5666545" y="1522125"/>
                  <a:pt x="5664868" y="1537137"/>
                  <a:pt x="5697884" y="1554504"/>
                </a:cubicBezTo>
                <a:cubicBezTo>
                  <a:pt x="5694211" y="1560172"/>
                  <a:pt x="5695209" y="1564844"/>
                  <a:pt x="5701875" y="1573189"/>
                </a:cubicBezTo>
                <a:cubicBezTo>
                  <a:pt x="5707545" y="1576861"/>
                  <a:pt x="5724553" y="1587879"/>
                  <a:pt x="5742557" y="1603571"/>
                </a:cubicBezTo>
                <a:cubicBezTo>
                  <a:pt x="5760562" y="1619260"/>
                  <a:pt x="5778567" y="1634952"/>
                  <a:pt x="5779564" y="1639622"/>
                </a:cubicBezTo>
                <a:cubicBezTo>
                  <a:pt x="5791900" y="1651638"/>
                  <a:pt x="5816573" y="1675674"/>
                  <a:pt x="5840245" y="1695037"/>
                </a:cubicBezTo>
                <a:cubicBezTo>
                  <a:pt x="5859248" y="1715397"/>
                  <a:pt x="5878251" y="1735759"/>
                  <a:pt x="5879249" y="1740430"/>
                </a:cubicBezTo>
                <a:cubicBezTo>
                  <a:pt x="5895259" y="1746778"/>
                  <a:pt x="5917256" y="1781152"/>
                  <a:pt x="5934262" y="1792171"/>
                </a:cubicBezTo>
                <a:cubicBezTo>
                  <a:pt x="5934262" y="1792171"/>
                  <a:pt x="5935261" y="1796841"/>
                  <a:pt x="5935261" y="1796841"/>
                </a:cubicBezTo>
                <a:cubicBezTo>
                  <a:pt x="5936258" y="1801513"/>
                  <a:pt x="5936258" y="1801513"/>
                  <a:pt x="5936258" y="1801513"/>
                </a:cubicBezTo>
                <a:cubicBezTo>
                  <a:pt x="5936258" y="1801513"/>
                  <a:pt x="5940929" y="1800515"/>
                  <a:pt x="5940929" y="1800515"/>
                </a:cubicBezTo>
                <a:cubicBezTo>
                  <a:pt x="5953264" y="1812533"/>
                  <a:pt x="5948594" y="1813530"/>
                  <a:pt x="5955260" y="1821873"/>
                </a:cubicBezTo>
                <a:cubicBezTo>
                  <a:pt x="5955260" y="1821873"/>
                  <a:pt x="5956259" y="1826546"/>
                  <a:pt x="5956259" y="1826546"/>
                </a:cubicBezTo>
                <a:cubicBezTo>
                  <a:pt x="5956259" y="1826546"/>
                  <a:pt x="5961927" y="1830220"/>
                  <a:pt x="5961927" y="1830220"/>
                </a:cubicBezTo>
                <a:cubicBezTo>
                  <a:pt x="5960930" y="1825547"/>
                  <a:pt x="5960930" y="1825547"/>
                  <a:pt x="5960930" y="1825547"/>
                </a:cubicBezTo>
                <a:cubicBezTo>
                  <a:pt x="5979932" y="1845910"/>
                  <a:pt x="5987597" y="1858924"/>
                  <a:pt x="6004605" y="1869943"/>
                </a:cubicBezTo>
                <a:cubicBezTo>
                  <a:pt x="5999933" y="1870942"/>
                  <a:pt x="5999933" y="1870942"/>
                  <a:pt x="5999933" y="1870942"/>
                </a:cubicBezTo>
                <a:lnTo>
                  <a:pt x="6000931" y="1875612"/>
                </a:lnTo>
                <a:cubicBezTo>
                  <a:pt x="6001929" y="1880283"/>
                  <a:pt x="6006601" y="1879284"/>
                  <a:pt x="6006601" y="1879284"/>
                </a:cubicBezTo>
                <a:cubicBezTo>
                  <a:pt x="6006601" y="1879284"/>
                  <a:pt x="6006601" y="1879284"/>
                  <a:pt x="6011271" y="1878287"/>
                </a:cubicBezTo>
                <a:cubicBezTo>
                  <a:pt x="6012269" y="1882958"/>
                  <a:pt x="6012269" y="1882958"/>
                  <a:pt x="6012269" y="1882958"/>
                </a:cubicBezTo>
                <a:cubicBezTo>
                  <a:pt x="6024604" y="1894976"/>
                  <a:pt x="6020931" y="1900645"/>
                  <a:pt x="6027599" y="1908989"/>
                </a:cubicBezTo>
                <a:cubicBezTo>
                  <a:pt x="6032269" y="1907991"/>
                  <a:pt x="6031271" y="1903319"/>
                  <a:pt x="6037939" y="1911662"/>
                </a:cubicBezTo>
                <a:cubicBezTo>
                  <a:pt x="6038936" y="1916334"/>
                  <a:pt x="6043606" y="1915336"/>
                  <a:pt x="6044605" y="1920008"/>
                </a:cubicBezTo>
                <a:cubicBezTo>
                  <a:pt x="6039935" y="1921005"/>
                  <a:pt x="6039935" y="1921005"/>
                  <a:pt x="6040933" y="1925676"/>
                </a:cubicBezTo>
                <a:cubicBezTo>
                  <a:pt x="6040933" y="1925676"/>
                  <a:pt x="6041931" y="1930346"/>
                  <a:pt x="6046601" y="1929349"/>
                </a:cubicBezTo>
                <a:cubicBezTo>
                  <a:pt x="6046601" y="1929349"/>
                  <a:pt x="6047599" y="1934020"/>
                  <a:pt x="6052271" y="1933023"/>
                </a:cubicBezTo>
                <a:cubicBezTo>
                  <a:pt x="6058937" y="1941367"/>
                  <a:pt x="6090275" y="1973745"/>
                  <a:pt x="6084607" y="1970071"/>
                </a:cubicBezTo>
                <a:cubicBezTo>
                  <a:pt x="6092952" y="1963405"/>
                  <a:pt x="6067599" y="1959052"/>
                  <a:pt x="6075945" y="1952386"/>
                </a:cubicBezTo>
                <a:cubicBezTo>
                  <a:pt x="6070275" y="1948713"/>
                  <a:pt x="6064605" y="1945039"/>
                  <a:pt x="6057939" y="1936695"/>
                </a:cubicBezTo>
                <a:cubicBezTo>
                  <a:pt x="6057939" y="1936695"/>
                  <a:pt x="6057939" y="1936695"/>
                  <a:pt x="6056941" y="1932024"/>
                </a:cubicBezTo>
                <a:cubicBezTo>
                  <a:pt x="6056941" y="1932024"/>
                  <a:pt x="6055943" y="1927353"/>
                  <a:pt x="6055943" y="1927353"/>
                </a:cubicBezTo>
                <a:cubicBezTo>
                  <a:pt x="6054946" y="1922683"/>
                  <a:pt x="6049276" y="1919009"/>
                  <a:pt x="6049276" y="1919009"/>
                </a:cubicBezTo>
                <a:cubicBezTo>
                  <a:pt x="6046283" y="1904996"/>
                  <a:pt x="6031271" y="1903319"/>
                  <a:pt x="6017937" y="1886631"/>
                </a:cubicBezTo>
                <a:cubicBezTo>
                  <a:pt x="6022609" y="1885633"/>
                  <a:pt x="6021611" y="1880962"/>
                  <a:pt x="6015942" y="1877290"/>
                </a:cubicBezTo>
                <a:cubicBezTo>
                  <a:pt x="6014943" y="1872617"/>
                  <a:pt x="6014943" y="1872617"/>
                  <a:pt x="6014943" y="1872617"/>
                </a:cubicBezTo>
                <a:cubicBezTo>
                  <a:pt x="6014943" y="1872617"/>
                  <a:pt x="6013945" y="1867947"/>
                  <a:pt x="6012949" y="1863276"/>
                </a:cubicBezTo>
                <a:cubicBezTo>
                  <a:pt x="6008279" y="1864274"/>
                  <a:pt x="6007279" y="1859602"/>
                  <a:pt x="6008279" y="1864274"/>
                </a:cubicBezTo>
                <a:cubicBezTo>
                  <a:pt x="6008279" y="1864274"/>
                  <a:pt x="6003605" y="1865272"/>
                  <a:pt x="6003605" y="1865272"/>
                </a:cubicBezTo>
                <a:cubicBezTo>
                  <a:pt x="6000612" y="1851259"/>
                  <a:pt x="5992267" y="1857927"/>
                  <a:pt x="5985601" y="1849581"/>
                </a:cubicBezTo>
                <a:cubicBezTo>
                  <a:pt x="5977936" y="1836566"/>
                  <a:pt x="5971269" y="1828222"/>
                  <a:pt x="5965600" y="1824550"/>
                </a:cubicBezTo>
                <a:cubicBezTo>
                  <a:pt x="5965600" y="1824550"/>
                  <a:pt x="5964603" y="1819878"/>
                  <a:pt x="5964603" y="1819878"/>
                </a:cubicBezTo>
                <a:cubicBezTo>
                  <a:pt x="5964603" y="1819878"/>
                  <a:pt x="5964603" y="1819878"/>
                  <a:pt x="5963605" y="1815208"/>
                </a:cubicBezTo>
                <a:cubicBezTo>
                  <a:pt x="5952267" y="1807860"/>
                  <a:pt x="5952267" y="1807860"/>
                  <a:pt x="5945599" y="1799518"/>
                </a:cubicBezTo>
                <a:cubicBezTo>
                  <a:pt x="5946598" y="1804188"/>
                  <a:pt x="5946598" y="1804188"/>
                  <a:pt x="5951268" y="1803190"/>
                </a:cubicBezTo>
                <a:cubicBezTo>
                  <a:pt x="5951268" y="1803190"/>
                  <a:pt x="5951268" y="1803190"/>
                  <a:pt x="5950271" y="1798519"/>
                </a:cubicBezTo>
                <a:cubicBezTo>
                  <a:pt x="5950271" y="1798519"/>
                  <a:pt x="5944601" y="1794847"/>
                  <a:pt x="5944601" y="1794847"/>
                </a:cubicBezTo>
                <a:cubicBezTo>
                  <a:pt x="5938933" y="1791173"/>
                  <a:pt x="5938933" y="1791173"/>
                  <a:pt x="5938933" y="1791173"/>
                </a:cubicBezTo>
                <a:cubicBezTo>
                  <a:pt x="5937936" y="1786503"/>
                  <a:pt x="5937936" y="1786503"/>
                  <a:pt x="5931269" y="1778159"/>
                </a:cubicBezTo>
                <a:cubicBezTo>
                  <a:pt x="5932265" y="1782829"/>
                  <a:pt x="5926595" y="1779156"/>
                  <a:pt x="5919929" y="1770811"/>
                </a:cubicBezTo>
                <a:cubicBezTo>
                  <a:pt x="5924601" y="1769814"/>
                  <a:pt x="5925598" y="1774486"/>
                  <a:pt x="5930269" y="1773488"/>
                </a:cubicBezTo>
                <a:cubicBezTo>
                  <a:pt x="5917935" y="1761471"/>
                  <a:pt x="5919929" y="1770811"/>
                  <a:pt x="5913263" y="1762468"/>
                </a:cubicBezTo>
                <a:cubicBezTo>
                  <a:pt x="5905597" y="1749453"/>
                  <a:pt x="5912265" y="1757797"/>
                  <a:pt x="5894260" y="1742107"/>
                </a:cubicBezTo>
                <a:cubicBezTo>
                  <a:pt x="5897933" y="1736438"/>
                  <a:pt x="5903603" y="1740111"/>
                  <a:pt x="5908274" y="1739112"/>
                </a:cubicBezTo>
                <a:cubicBezTo>
                  <a:pt x="5896935" y="1731767"/>
                  <a:pt x="5891267" y="1728094"/>
                  <a:pt x="5885598" y="1724422"/>
                </a:cubicBezTo>
                <a:cubicBezTo>
                  <a:pt x="5890269" y="1723424"/>
                  <a:pt x="5890269" y="1723424"/>
                  <a:pt x="5890269" y="1723424"/>
                </a:cubicBezTo>
                <a:cubicBezTo>
                  <a:pt x="5890269" y="1723424"/>
                  <a:pt x="5890269" y="1723424"/>
                  <a:pt x="5889272" y="1718751"/>
                </a:cubicBezTo>
                <a:cubicBezTo>
                  <a:pt x="5889272" y="1718751"/>
                  <a:pt x="5884601" y="1719750"/>
                  <a:pt x="5883602" y="1715079"/>
                </a:cubicBezTo>
                <a:cubicBezTo>
                  <a:pt x="5877933" y="1711405"/>
                  <a:pt x="5871265" y="1703061"/>
                  <a:pt x="5866595" y="1704060"/>
                </a:cubicBezTo>
                <a:cubicBezTo>
                  <a:pt x="5866595" y="1704060"/>
                  <a:pt x="5860925" y="1700386"/>
                  <a:pt x="5859927" y="1695716"/>
                </a:cubicBezTo>
                <a:cubicBezTo>
                  <a:pt x="5859927" y="1695716"/>
                  <a:pt x="5859927" y="1695716"/>
                  <a:pt x="5854258" y="1692043"/>
                </a:cubicBezTo>
                <a:cubicBezTo>
                  <a:pt x="5854258" y="1692043"/>
                  <a:pt x="5854258" y="1692043"/>
                  <a:pt x="5855257" y="1696713"/>
                </a:cubicBezTo>
                <a:cubicBezTo>
                  <a:pt x="5855257" y="1696713"/>
                  <a:pt x="5855257" y="1696713"/>
                  <a:pt x="5856255" y="1701383"/>
                </a:cubicBezTo>
                <a:cubicBezTo>
                  <a:pt x="5839247" y="1690365"/>
                  <a:pt x="5831582" y="1677350"/>
                  <a:pt x="5824917" y="1669006"/>
                </a:cubicBezTo>
                <a:cubicBezTo>
                  <a:pt x="5829587" y="1668009"/>
                  <a:pt x="5835256" y="1671682"/>
                  <a:pt x="5839927" y="1670683"/>
                </a:cubicBezTo>
                <a:cubicBezTo>
                  <a:pt x="5820924" y="1650321"/>
                  <a:pt x="5801921" y="1629962"/>
                  <a:pt x="5805913" y="1648645"/>
                </a:cubicBezTo>
                <a:cubicBezTo>
                  <a:pt x="5791582" y="1627287"/>
                  <a:pt x="5791582" y="1627287"/>
                  <a:pt x="5774575" y="1616266"/>
                </a:cubicBezTo>
                <a:cubicBezTo>
                  <a:pt x="5774575" y="1616266"/>
                  <a:pt x="5779247" y="1615269"/>
                  <a:pt x="5780245" y="1619939"/>
                </a:cubicBezTo>
                <a:cubicBezTo>
                  <a:pt x="5780245" y="1619939"/>
                  <a:pt x="5784915" y="1618942"/>
                  <a:pt x="5784915" y="1618942"/>
                </a:cubicBezTo>
                <a:cubicBezTo>
                  <a:pt x="5790585" y="1622614"/>
                  <a:pt x="5789585" y="1617944"/>
                  <a:pt x="5789585" y="1617944"/>
                </a:cubicBezTo>
                <a:cubicBezTo>
                  <a:pt x="5788587" y="1613273"/>
                  <a:pt x="5788587" y="1613273"/>
                  <a:pt x="5782919" y="1609599"/>
                </a:cubicBezTo>
                <a:cubicBezTo>
                  <a:pt x="5787589" y="1608602"/>
                  <a:pt x="5787589" y="1608602"/>
                  <a:pt x="5787589" y="1608602"/>
                </a:cubicBezTo>
                <a:cubicBezTo>
                  <a:pt x="5788587" y="1613273"/>
                  <a:pt x="5793259" y="1612274"/>
                  <a:pt x="5793259" y="1612274"/>
                </a:cubicBezTo>
                <a:cubicBezTo>
                  <a:pt x="5794257" y="1616947"/>
                  <a:pt x="5794257" y="1616947"/>
                  <a:pt x="5794257" y="1616947"/>
                </a:cubicBezTo>
                <a:cubicBezTo>
                  <a:pt x="5794257" y="1616947"/>
                  <a:pt x="5799925" y="1620620"/>
                  <a:pt x="5799925" y="1620620"/>
                </a:cubicBezTo>
                <a:cubicBezTo>
                  <a:pt x="5799925" y="1620620"/>
                  <a:pt x="5805595" y="1624292"/>
                  <a:pt x="5805595" y="1624292"/>
                </a:cubicBezTo>
                <a:cubicBezTo>
                  <a:pt x="5849269" y="1668688"/>
                  <a:pt x="5887275" y="1709410"/>
                  <a:pt x="5930950" y="1753805"/>
                </a:cubicBezTo>
                <a:cubicBezTo>
                  <a:pt x="5931947" y="1758476"/>
                  <a:pt x="5931947" y="1758476"/>
                  <a:pt x="5931947" y="1758476"/>
                </a:cubicBezTo>
                <a:cubicBezTo>
                  <a:pt x="5932945" y="1763146"/>
                  <a:pt x="5937615" y="1762149"/>
                  <a:pt x="5937615" y="1762149"/>
                </a:cubicBezTo>
                <a:cubicBezTo>
                  <a:pt x="5954623" y="1773169"/>
                  <a:pt x="5949952" y="1774167"/>
                  <a:pt x="5962289" y="1786184"/>
                </a:cubicBezTo>
                <a:cubicBezTo>
                  <a:pt x="5963285" y="1790854"/>
                  <a:pt x="5964283" y="1795526"/>
                  <a:pt x="5969953" y="1799200"/>
                </a:cubicBezTo>
                <a:cubicBezTo>
                  <a:pt x="5970951" y="1803870"/>
                  <a:pt x="5975622" y="1802871"/>
                  <a:pt x="5975622" y="1802871"/>
                </a:cubicBezTo>
                <a:cubicBezTo>
                  <a:pt x="5987958" y="1814887"/>
                  <a:pt x="5995623" y="1827904"/>
                  <a:pt x="6005963" y="1830579"/>
                </a:cubicBezTo>
                <a:cubicBezTo>
                  <a:pt x="6005963" y="1830579"/>
                  <a:pt x="6011631" y="1834252"/>
                  <a:pt x="6011631" y="1834252"/>
                </a:cubicBezTo>
                <a:cubicBezTo>
                  <a:pt x="6012630" y="1838924"/>
                  <a:pt x="6013627" y="1843594"/>
                  <a:pt x="6014625" y="1848264"/>
                </a:cubicBezTo>
                <a:cubicBezTo>
                  <a:pt x="6019296" y="1847267"/>
                  <a:pt x="6033629" y="1868626"/>
                  <a:pt x="6044965" y="1875972"/>
                </a:cubicBezTo>
                <a:cubicBezTo>
                  <a:pt x="6044965" y="1875972"/>
                  <a:pt x="6045965" y="1880642"/>
                  <a:pt x="6050635" y="1879645"/>
                </a:cubicBezTo>
                <a:cubicBezTo>
                  <a:pt x="6051633" y="1884316"/>
                  <a:pt x="6051633" y="1884316"/>
                  <a:pt x="6051633" y="1884316"/>
                </a:cubicBezTo>
                <a:cubicBezTo>
                  <a:pt x="6079299" y="1922363"/>
                  <a:pt x="6107962" y="1965081"/>
                  <a:pt x="6140299" y="2002132"/>
                </a:cubicBezTo>
                <a:cubicBezTo>
                  <a:pt x="6141296" y="2006801"/>
                  <a:pt x="6146966" y="2010475"/>
                  <a:pt x="6152635" y="2014149"/>
                </a:cubicBezTo>
                <a:cubicBezTo>
                  <a:pt x="6153632" y="2018819"/>
                  <a:pt x="6154629" y="2023491"/>
                  <a:pt x="6155629" y="2028161"/>
                </a:cubicBezTo>
                <a:cubicBezTo>
                  <a:pt x="6154629" y="2023491"/>
                  <a:pt x="6160299" y="2027163"/>
                  <a:pt x="6164971" y="2026165"/>
                </a:cubicBezTo>
                <a:cubicBezTo>
                  <a:pt x="6165969" y="2030835"/>
                  <a:pt x="6171637" y="2034509"/>
                  <a:pt x="6171637" y="2034509"/>
                </a:cubicBezTo>
                <a:cubicBezTo>
                  <a:pt x="6185969" y="2055870"/>
                  <a:pt x="6195630" y="2078225"/>
                  <a:pt x="6208963" y="2094914"/>
                </a:cubicBezTo>
                <a:cubicBezTo>
                  <a:pt x="6208963" y="2094914"/>
                  <a:pt x="6209963" y="2099585"/>
                  <a:pt x="6209963" y="2099585"/>
                </a:cubicBezTo>
                <a:cubicBezTo>
                  <a:pt x="6210959" y="2104255"/>
                  <a:pt x="6210959" y="2104255"/>
                  <a:pt x="6211957" y="2108927"/>
                </a:cubicBezTo>
                <a:cubicBezTo>
                  <a:pt x="6216629" y="2107929"/>
                  <a:pt x="6216629" y="2107929"/>
                  <a:pt x="6216629" y="2107929"/>
                </a:cubicBezTo>
                <a:cubicBezTo>
                  <a:pt x="6236629" y="2132961"/>
                  <a:pt x="6255633" y="2153322"/>
                  <a:pt x="6264295" y="2171008"/>
                </a:cubicBezTo>
                <a:cubicBezTo>
                  <a:pt x="6281303" y="2182027"/>
                  <a:pt x="6299624" y="2222071"/>
                  <a:pt x="6321623" y="2256444"/>
                </a:cubicBezTo>
                <a:cubicBezTo>
                  <a:pt x="6332959" y="2263790"/>
                  <a:pt x="6344617" y="2295490"/>
                  <a:pt x="6351284" y="2303835"/>
                </a:cubicBezTo>
                <a:cubicBezTo>
                  <a:pt x="6351284" y="2303835"/>
                  <a:pt x="6352281" y="2308505"/>
                  <a:pt x="6352281" y="2308505"/>
                </a:cubicBezTo>
                <a:cubicBezTo>
                  <a:pt x="6352281" y="2308505"/>
                  <a:pt x="6353279" y="2313176"/>
                  <a:pt x="6353279" y="2313176"/>
                </a:cubicBezTo>
                <a:cubicBezTo>
                  <a:pt x="6354277" y="2317847"/>
                  <a:pt x="6354277" y="2317847"/>
                  <a:pt x="6354277" y="2317847"/>
                </a:cubicBezTo>
                <a:cubicBezTo>
                  <a:pt x="6359946" y="2321520"/>
                  <a:pt x="6359946" y="2321520"/>
                  <a:pt x="6358947" y="2316850"/>
                </a:cubicBezTo>
                <a:cubicBezTo>
                  <a:pt x="6366612" y="2329865"/>
                  <a:pt x="6364617" y="2320523"/>
                  <a:pt x="6369289" y="2319526"/>
                </a:cubicBezTo>
                <a:cubicBezTo>
                  <a:pt x="6367611" y="2334535"/>
                  <a:pt x="6381625" y="2331542"/>
                  <a:pt x="6385616" y="2350226"/>
                </a:cubicBezTo>
                <a:cubicBezTo>
                  <a:pt x="6389289" y="2344557"/>
                  <a:pt x="6392282" y="2358570"/>
                  <a:pt x="6396955" y="2357572"/>
                </a:cubicBezTo>
                <a:cubicBezTo>
                  <a:pt x="6383619" y="2340883"/>
                  <a:pt x="6371963" y="2309185"/>
                  <a:pt x="6361624" y="2306510"/>
                </a:cubicBezTo>
                <a:cubicBezTo>
                  <a:pt x="6361624" y="2306510"/>
                  <a:pt x="6360625" y="2301837"/>
                  <a:pt x="6359627" y="2297168"/>
                </a:cubicBezTo>
                <a:cubicBezTo>
                  <a:pt x="6359627" y="2297168"/>
                  <a:pt x="6358629" y="2292496"/>
                  <a:pt x="6353959" y="2293494"/>
                </a:cubicBezTo>
                <a:cubicBezTo>
                  <a:pt x="6347971" y="2265469"/>
                  <a:pt x="6328969" y="2245107"/>
                  <a:pt x="6314637" y="2223747"/>
                </a:cubicBezTo>
                <a:cubicBezTo>
                  <a:pt x="6278307" y="2168014"/>
                  <a:pt x="6246649" y="2111283"/>
                  <a:pt x="6212319" y="2064893"/>
                </a:cubicBezTo>
                <a:cubicBezTo>
                  <a:pt x="6184653" y="2026844"/>
                  <a:pt x="6151999" y="1965444"/>
                  <a:pt x="6107325" y="1916375"/>
                </a:cubicBezTo>
                <a:cubicBezTo>
                  <a:pt x="6100658" y="1908032"/>
                  <a:pt x="6090318" y="1905356"/>
                  <a:pt x="6088323" y="1896015"/>
                </a:cubicBezTo>
                <a:cubicBezTo>
                  <a:pt x="6055985" y="1858965"/>
                  <a:pt x="6032992" y="1819921"/>
                  <a:pt x="6007323" y="1791215"/>
                </a:cubicBezTo>
                <a:cubicBezTo>
                  <a:pt x="5983647" y="1771851"/>
                  <a:pt x="5995982" y="1783869"/>
                  <a:pt x="5975983" y="1758836"/>
                </a:cubicBezTo>
                <a:cubicBezTo>
                  <a:pt x="5954985" y="1729134"/>
                  <a:pt x="5930312" y="1705100"/>
                  <a:pt x="5907636" y="1690407"/>
                </a:cubicBezTo>
                <a:cubicBezTo>
                  <a:pt x="5879969" y="1652360"/>
                  <a:pt x="5821285" y="1606287"/>
                  <a:pt x="5789947" y="1573908"/>
                </a:cubicBezTo>
                <a:cubicBezTo>
                  <a:pt x="5777611" y="1561891"/>
                  <a:pt x="5773937" y="1567560"/>
                  <a:pt x="5761602" y="1555544"/>
                </a:cubicBezTo>
                <a:cubicBezTo>
                  <a:pt x="5769945" y="1548876"/>
                  <a:pt x="5746271" y="1529513"/>
                  <a:pt x="5729265" y="1518494"/>
                </a:cubicBezTo>
                <a:cubicBezTo>
                  <a:pt x="5729265" y="1518494"/>
                  <a:pt x="5724593" y="1519493"/>
                  <a:pt x="5718925" y="1515819"/>
                </a:cubicBezTo>
                <a:cubicBezTo>
                  <a:pt x="5701919" y="1504800"/>
                  <a:pt x="5685591" y="1474099"/>
                  <a:pt x="5658243" y="1460405"/>
                </a:cubicBezTo>
                <a:cubicBezTo>
                  <a:pt x="5652575" y="1456732"/>
                  <a:pt x="5648901" y="1462401"/>
                  <a:pt x="5637563" y="1455055"/>
                </a:cubicBezTo>
                <a:cubicBezTo>
                  <a:pt x="5637563" y="1455055"/>
                  <a:pt x="5634569" y="1441042"/>
                  <a:pt x="5624228" y="1438365"/>
                </a:cubicBezTo>
                <a:cubicBezTo>
                  <a:pt x="5575884" y="1394968"/>
                  <a:pt x="5503185" y="1351889"/>
                  <a:pt x="5452165" y="1318832"/>
                </a:cubicBezTo>
                <a:cubicBezTo>
                  <a:pt x="5429489" y="1304140"/>
                  <a:pt x="5405815" y="1284777"/>
                  <a:pt x="5377469" y="1266412"/>
                </a:cubicBezTo>
                <a:cubicBezTo>
                  <a:pt x="5366133" y="1259066"/>
                  <a:pt x="5345452" y="1253715"/>
                  <a:pt x="5334113" y="1246370"/>
                </a:cubicBezTo>
                <a:cubicBezTo>
                  <a:pt x="5334113" y="1246370"/>
                  <a:pt x="5321779" y="1234352"/>
                  <a:pt x="5321779" y="1234352"/>
                </a:cubicBezTo>
                <a:cubicBezTo>
                  <a:pt x="5310439" y="1227007"/>
                  <a:pt x="5305769" y="1228004"/>
                  <a:pt x="5300101" y="1224331"/>
                </a:cubicBezTo>
                <a:cubicBezTo>
                  <a:pt x="5299103" y="1219660"/>
                  <a:pt x="5299103" y="1219660"/>
                  <a:pt x="5299103" y="1219660"/>
                </a:cubicBezTo>
                <a:cubicBezTo>
                  <a:pt x="5313115" y="1216667"/>
                  <a:pt x="5322775" y="1239023"/>
                  <a:pt x="5325451" y="1228683"/>
                </a:cubicBezTo>
                <a:cubicBezTo>
                  <a:pt x="5325451" y="1228683"/>
                  <a:pt x="5325451" y="1228683"/>
                  <a:pt x="5326449" y="1233354"/>
                </a:cubicBezTo>
                <a:cubicBezTo>
                  <a:pt x="5336789" y="1236030"/>
                  <a:pt x="5336789" y="1236030"/>
                  <a:pt x="5336789" y="1236030"/>
                </a:cubicBezTo>
                <a:cubicBezTo>
                  <a:pt x="5336789" y="1236030"/>
                  <a:pt x="5341461" y="1235032"/>
                  <a:pt x="5341461" y="1235032"/>
                </a:cubicBezTo>
                <a:cubicBezTo>
                  <a:pt x="5341461" y="1235032"/>
                  <a:pt x="5342459" y="1239702"/>
                  <a:pt x="5347129" y="1238705"/>
                </a:cubicBezTo>
                <a:cubicBezTo>
                  <a:pt x="5347129" y="1238705"/>
                  <a:pt x="5351799" y="1237706"/>
                  <a:pt x="5351799" y="1237706"/>
                </a:cubicBezTo>
                <a:cubicBezTo>
                  <a:pt x="5368805" y="1248725"/>
                  <a:pt x="5367808" y="1244055"/>
                  <a:pt x="5384815" y="1255074"/>
                </a:cubicBezTo>
                <a:cubicBezTo>
                  <a:pt x="5384815" y="1255074"/>
                  <a:pt x="5390485" y="1258747"/>
                  <a:pt x="5390485" y="1258747"/>
                </a:cubicBezTo>
                <a:cubicBezTo>
                  <a:pt x="5390485" y="1258747"/>
                  <a:pt x="5390485" y="1258747"/>
                  <a:pt x="5395155" y="1257748"/>
                </a:cubicBezTo>
                <a:cubicBezTo>
                  <a:pt x="5395155" y="1257748"/>
                  <a:pt x="5396153" y="1262419"/>
                  <a:pt x="5396153" y="1262419"/>
                </a:cubicBezTo>
                <a:cubicBezTo>
                  <a:pt x="5402821" y="1270763"/>
                  <a:pt x="5376472" y="1261740"/>
                  <a:pt x="5392481" y="1268089"/>
                </a:cubicBezTo>
                <a:cubicBezTo>
                  <a:pt x="5398151" y="1271762"/>
                  <a:pt x="5401823" y="1266093"/>
                  <a:pt x="5416835" y="1267768"/>
                </a:cubicBezTo>
                <a:cubicBezTo>
                  <a:pt x="5424499" y="1280785"/>
                  <a:pt x="5433841" y="1278790"/>
                  <a:pt x="5457515" y="1298152"/>
                </a:cubicBezTo>
                <a:cubicBezTo>
                  <a:pt x="5452843" y="1299151"/>
                  <a:pt x="5452843" y="1299151"/>
                  <a:pt x="5452843" y="1299151"/>
                </a:cubicBezTo>
                <a:cubicBezTo>
                  <a:pt x="5458513" y="1302825"/>
                  <a:pt x="5458513" y="1302825"/>
                  <a:pt x="5458513" y="1302825"/>
                </a:cubicBezTo>
                <a:cubicBezTo>
                  <a:pt x="5460509" y="1312164"/>
                  <a:pt x="5448173" y="1300148"/>
                  <a:pt x="5443501" y="1301145"/>
                </a:cubicBezTo>
                <a:cubicBezTo>
                  <a:pt x="5455837" y="1313163"/>
                  <a:pt x="5460509" y="1312164"/>
                  <a:pt x="5469850" y="1310170"/>
                </a:cubicBezTo>
                <a:cubicBezTo>
                  <a:pt x="5470849" y="1314841"/>
                  <a:pt x="5470849" y="1314841"/>
                  <a:pt x="5476517" y="1318514"/>
                </a:cubicBezTo>
                <a:cubicBezTo>
                  <a:pt x="5477516" y="1323185"/>
                  <a:pt x="5482186" y="1322188"/>
                  <a:pt x="5482186" y="1322188"/>
                </a:cubicBezTo>
                <a:cubicBezTo>
                  <a:pt x="5485860" y="1316519"/>
                  <a:pt x="5485860" y="1316519"/>
                  <a:pt x="5485860" y="1316519"/>
                </a:cubicBezTo>
                <a:cubicBezTo>
                  <a:pt x="5494522" y="1334204"/>
                  <a:pt x="5500870" y="1318194"/>
                  <a:pt x="5519873" y="1338556"/>
                </a:cubicBezTo>
                <a:cubicBezTo>
                  <a:pt x="5525542" y="1342228"/>
                  <a:pt x="5525542" y="1342228"/>
                  <a:pt x="5525542" y="1342228"/>
                </a:cubicBezTo>
                <a:cubicBezTo>
                  <a:pt x="5525542" y="1342228"/>
                  <a:pt x="5530213" y="1341231"/>
                  <a:pt x="5530213" y="1341231"/>
                </a:cubicBezTo>
                <a:cubicBezTo>
                  <a:pt x="5570893" y="1371613"/>
                  <a:pt x="5604908" y="1393651"/>
                  <a:pt x="5637924" y="1411021"/>
                </a:cubicBezTo>
                <a:cubicBezTo>
                  <a:pt x="5633253" y="1412018"/>
                  <a:pt x="5637243" y="1430702"/>
                  <a:pt x="5645589" y="1424035"/>
                </a:cubicBezTo>
                <a:cubicBezTo>
                  <a:pt x="5638921" y="1415691"/>
                  <a:pt x="5649263" y="1418366"/>
                  <a:pt x="5655929" y="1426710"/>
                </a:cubicBezTo>
                <a:cubicBezTo>
                  <a:pt x="5673933" y="1442400"/>
                  <a:pt x="5707947" y="1464437"/>
                  <a:pt x="5738288" y="1492145"/>
                </a:cubicBezTo>
                <a:cubicBezTo>
                  <a:pt x="5767630" y="1515181"/>
                  <a:pt x="5797972" y="1542889"/>
                  <a:pt x="5821645" y="1562252"/>
                </a:cubicBezTo>
                <a:cubicBezTo>
                  <a:pt x="5815977" y="1558580"/>
                  <a:pt x="5824641" y="1576266"/>
                  <a:pt x="5829311" y="1575267"/>
                </a:cubicBezTo>
                <a:cubicBezTo>
                  <a:pt x="5822645" y="1566922"/>
                  <a:pt x="5827315" y="1565925"/>
                  <a:pt x="5832983" y="1569599"/>
                </a:cubicBezTo>
                <a:cubicBezTo>
                  <a:pt x="5834979" y="1578940"/>
                  <a:pt x="5858654" y="1598303"/>
                  <a:pt x="5876659" y="1613995"/>
                </a:cubicBezTo>
                <a:cubicBezTo>
                  <a:pt x="5894663" y="1629684"/>
                  <a:pt x="5911669" y="1640703"/>
                  <a:pt x="5906998" y="1641700"/>
                </a:cubicBezTo>
                <a:cubicBezTo>
                  <a:pt x="5929675" y="1656393"/>
                  <a:pt x="5943009" y="1673082"/>
                  <a:pt x="5956341" y="1689770"/>
                </a:cubicBezTo>
                <a:cubicBezTo>
                  <a:pt x="5975346" y="1710131"/>
                  <a:pt x="5989677" y="1731490"/>
                  <a:pt x="6019021" y="1754527"/>
                </a:cubicBezTo>
                <a:cubicBezTo>
                  <a:pt x="6019021" y="1754527"/>
                  <a:pt x="6020018" y="1759196"/>
                  <a:pt x="6021017" y="1763868"/>
                </a:cubicBezTo>
                <a:cubicBezTo>
                  <a:pt x="6040698" y="1764547"/>
                  <a:pt x="6067685" y="1822276"/>
                  <a:pt x="6085689" y="1837968"/>
                </a:cubicBezTo>
                <a:cubicBezTo>
                  <a:pt x="6091358" y="1841639"/>
                  <a:pt x="6090361" y="1836969"/>
                  <a:pt x="6097027" y="1845313"/>
                </a:cubicBezTo>
                <a:cubicBezTo>
                  <a:pt x="6109363" y="1857330"/>
                  <a:pt x="6112357" y="1871342"/>
                  <a:pt x="6124692" y="1883360"/>
                </a:cubicBezTo>
                <a:cubicBezTo>
                  <a:pt x="6131359" y="1891704"/>
                  <a:pt x="6137029" y="1895377"/>
                  <a:pt x="6148365" y="1902723"/>
                </a:cubicBezTo>
                <a:cubicBezTo>
                  <a:pt x="6168367" y="1927756"/>
                  <a:pt x="6186691" y="1967798"/>
                  <a:pt x="6207689" y="1997502"/>
                </a:cubicBezTo>
                <a:cubicBezTo>
                  <a:pt x="6234356" y="2030879"/>
                  <a:pt x="6265017" y="2082939"/>
                  <a:pt x="6292683" y="2120986"/>
                </a:cubicBezTo>
                <a:cubicBezTo>
                  <a:pt x="6300345" y="2134001"/>
                  <a:pt x="6312681" y="2146017"/>
                  <a:pt x="6319349" y="2154362"/>
                </a:cubicBezTo>
                <a:cubicBezTo>
                  <a:pt x="6319349" y="2154362"/>
                  <a:pt x="6313681" y="2150689"/>
                  <a:pt x="6313681" y="2150689"/>
                </a:cubicBezTo>
                <a:cubicBezTo>
                  <a:pt x="6322344" y="2168375"/>
                  <a:pt x="6335677" y="2185064"/>
                  <a:pt x="6343343" y="2198078"/>
                </a:cubicBezTo>
                <a:cubicBezTo>
                  <a:pt x="6344339" y="2202749"/>
                  <a:pt x="6346335" y="2212090"/>
                  <a:pt x="6346335" y="2212090"/>
                </a:cubicBezTo>
                <a:cubicBezTo>
                  <a:pt x="6370329" y="2255808"/>
                  <a:pt x="6401987" y="2312540"/>
                  <a:pt x="6424979" y="2351584"/>
                </a:cubicBezTo>
                <a:cubicBezTo>
                  <a:pt x="6424979" y="2351584"/>
                  <a:pt x="6424979" y="2351584"/>
                  <a:pt x="6420309" y="2352581"/>
                </a:cubicBezTo>
                <a:cubicBezTo>
                  <a:pt x="6420309" y="2352581"/>
                  <a:pt x="6421307" y="2357252"/>
                  <a:pt x="6421307" y="2357252"/>
                </a:cubicBezTo>
                <a:cubicBezTo>
                  <a:pt x="6421307" y="2357252"/>
                  <a:pt x="6426975" y="2360926"/>
                  <a:pt x="6426975" y="2360926"/>
                </a:cubicBezTo>
                <a:cubicBezTo>
                  <a:pt x="6434641" y="2373942"/>
                  <a:pt x="6450289" y="2424325"/>
                  <a:pt x="6451966" y="2409313"/>
                </a:cubicBezTo>
                <a:cubicBezTo>
                  <a:pt x="6452965" y="2413983"/>
                  <a:pt x="6452965" y="2413983"/>
                  <a:pt x="6452965" y="2413983"/>
                </a:cubicBezTo>
                <a:cubicBezTo>
                  <a:pt x="6453963" y="2418656"/>
                  <a:pt x="6453963" y="2418656"/>
                  <a:pt x="6453963" y="2418656"/>
                </a:cubicBezTo>
                <a:cubicBezTo>
                  <a:pt x="6458633" y="2417657"/>
                  <a:pt x="6458633" y="2417657"/>
                  <a:pt x="6458633" y="2417657"/>
                </a:cubicBezTo>
                <a:cubicBezTo>
                  <a:pt x="6457635" y="2412986"/>
                  <a:pt x="6457635" y="2412986"/>
                  <a:pt x="6457635" y="2412986"/>
                </a:cubicBezTo>
                <a:cubicBezTo>
                  <a:pt x="6465980" y="2406320"/>
                  <a:pt x="6465299" y="2426002"/>
                  <a:pt x="6466299" y="2430673"/>
                </a:cubicBezTo>
                <a:cubicBezTo>
                  <a:pt x="6468972" y="2420333"/>
                  <a:pt x="6484303" y="2446363"/>
                  <a:pt x="6475639" y="2428676"/>
                </a:cubicBezTo>
                <a:cubicBezTo>
                  <a:pt x="6470969" y="2429674"/>
                  <a:pt x="6467975" y="2415661"/>
                  <a:pt x="6467975" y="2415661"/>
                </a:cubicBezTo>
                <a:cubicBezTo>
                  <a:pt x="6474643" y="2424007"/>
                  <a:pt x="6473645" y="2419335"/>
                  <a:pt x="6472646" y="2414663"/>
                </a:cubicBezTo>
                <a:cubicBezTo>
                  <a:pt x="6462306" y="2411989"/>
                  <a:pt x="6458314" y="2393305"/>
                  <a:pt x="6445979" y="2381288"/>
                </a:cubicBezTo>
                <a:cubicBezTo>
                  <a:pt x="6445979" y="2381288"/>
                  <a:pt x="6444981" y="2376615"/>
                  <a:pt x="6443981" y="2371946"/>
                </a:cubicBezTo>
                <a:cubicBezTo>
                  <a:pt x="6443981" y="2371946"/>
                  <a:pt x="6442985" y="2367276"/>
                  <a:pt x="6442985" y="2367276"/>
                </a:cubicBezTo>
                <a:cubicBezTo>
                  <a:pt x="6441987" y="2362603"/>
                  <a:pt x="6441987" y="2362603"/>
                  <a:pt x="6441987" y="2362603"/>
                </a:cubicBezTo>
                <a:cubicBezTo>
                  <a:pt x="6441987" y="2362603"/>
                  <a:pt x="6437315" y="2363602"/>
                  <a:pt x="6437315" y="2363602"/>
                </a:cubicBezTo>
                <a:cubicBezTo>
                  <a:pt x="6436317" y="2358931"/>
                  <a:pt x="6436317" y="2358931"/>
                  <a:pt x="6435319" y="2354259"/>
                </a:cubicBezTo>
                <a:cubicBezTo>
                  <a:pt x="6438993" y="2348590"/>
                  <a:pt x="6440989" y="2357932"/>
                  <a:pt x="6445659" y="2356934"/>
                </a:cubicBezTo>
                <a:cubicBezTo>
                  <a:pt x="6443663" y="2347593"/>
                  <a:pt x="6438993" y="2348590"/>
                  <a:pt x="6437995" y="2343919"/>
                </a:cubicBezTo>
                <a:cubicBezTo>
                  <a:pt x="6437995" y="2343919"/>
                  <a:pt x="6437995" y="2343919"/>
                  <a:pt x="6436996" y="2339248"/>
                </a:cubicBezTo>
                <a:cubicBezTo>
                  <a:pt x="6436996" y="2339248"/>
                  <a:pt x="6435999" y="2334578"/>
                  <a:pt x="6435999" y="2334578"/>
                </a:cubicBezTo>
                <a:cubicBezTo>
                  <a:pt x="6435001" y="2329906"/>
                  <a:pt x="6435001" y="2329906"/>
                  <a:pt x="6435001" y="2329906"/>
                </a:cubicBezTo>
                <a:cubicBezTo>
                  <a:pt x="6426338" y="2312220"/>
                  <a:pt x="6426338" y="2312220"/>
                  <a:pt x="6426338" y="2312220"/>
                </a:cubicBezTo>
                <a:cubicBezTo>
                  <a:pt x="6420669" y="2308548"/>
                  <a:pt x="6420669" y="2308548"/>
                  <a:pt x="6420669" y="2308548"/>
                </a:cubicBezTo>
                <a:cubicBezTo>
                  <a:pt x="6405339" y="2282517"/>
                  <a:pt x="6407335" y="2291860"/>
                  <a:pt x="6396677" y="2264832"/>
                </a:cubicBezTo>
                <a:cubicBezTo>
                  <a:pt x="6395680" y="2260159"/>
                  <a:pt x="6395680" y="2260159"/>
                  <a:pt x="6394681" y="2255488"/>
                </a:cubicBezTo>
                <a:cubicBezTo>
                  <a:pt x="6389013" y="2251817"/>
                  <a:pt x="6389013" y="2251817"/>
                  <a:pt x="6390010" y="2256487"/>
                </a:cubicBezTo>
                <a:cubicBezTo>
                  <a:pt x="6387017" y="2242473"/>
                  <a:pt x="6377355" y="2220118"/>
                  <a:pt x="6367015" y="2217441"/>
                </a:cubicBezTo>
                <a:cubicBezTo>
                  <a:pt x="6373683" y="2225786"/>
                  <a:pt x="6369012" y="2226785"/>
                  <a:pt x="6362345" y="2218440"/>
                </a:cubicBezTo>
                <a:lnTo>
                  <a:pt x="6361347" y="2213768"/>
                </a:lnTo>
                <a:cubicBezTo>
                  <a:pt x="6366017" y="2212771"/>
                  <a:pt x="6366017" y="2212771"/>
                  <a:pt x="6366017" y="2212771"/>
                </a:cubicBezTo>
                <a:cubicBezTo>
                  <a:pt x="6366017" y="2212771"/>
                  <a:pt x="6366017" y="2212771"/>
                  <a:pt x="6365019" y="2208100"/>
                </a:cubicBezTo>
                <a:cubicBezTo>
                  <a:pt x="6365019" y="2208100"/>
                  <a:pt x="6365019" y="2208100"/>
                  <a:pt x="6359351" y="2204426"/>
                </a:cubicBezTo>
                <a:cubicBezTo>
                  <a:pt x="6353364" y="2176401"/>
                  <a:pt x="6305696" y="2113321"/>
                  <a:pt x="6289369" y="2082620"/>
                </a:cubicBezTo>
                <a:cubicBezTo>
                  <a:pt x="6280707" y="2064934"/>
                  <a:pt x="6284379" y="2059265"/>
                  <a:pt x="6272043" y="2047249"/>
                </a:cubicBezTo>
                <a:cubicBezTo>
                  <a:pt x="6270049" y="2037906"/>
                  <a:pt x="6259707" y="2035231"/>
                  <a:pt x="6253041" y="2026887"/>
                </a:cubicBezTo>
                <a:cubicBezTo>
                  <a:pt x="6244378" y="2009200"/>
                  <a:pt x="6241385" y="1995188"/>
                  <a:pt x="6226373" y="1993510"/>
                </a:cubicBezTo>
                <a:cubicBezTo>
                  <a:pt x="6179387" y="1910749"/>
                  <a:pt x="6107048" y="1823635"/>
                  <a:pt x="6037705" y="1750534"/>
                </a:cubicBezTo>
                <a:cubicBezTo>
                  <a:pt x="6041377" y="1744864"/>
                  <a:pt x="6041377" y="1744864"/>
                  <a:pt x="6040378" y="1740194"/>
                </a:cubicBezTo>
                <a:cubicBezTo>
                  <a:pt x="6040378" y="1740194"/>
                  <a:pt x="6041377" y="1744864"/>
                  <a:pt x="6041377" y="1744864"/>
                </a:cubicBezTo>
                <a:cubicBezTo>
                  <a:pt x="6046048" y="1743867"/>
                  <a:pt x="6046048" y="1743867"/>
                  <a:pt x="6046048" y="1743867"/>
                </a:cubicBezTo>
                <a:cubicBezTo>
                  <a:pt x="6046048" y="1743867"/>
                  <a:pt x="6045051" y="1739196"/>
                  <a:pt x="6039381" y="1735524"/>
                </a:cubicBezTo>
                <a:cubicBezTo>
                  <a:pt x="6038383" y="1730853"/>
                  <a:pt x="6043053" y="1729854"/>
                  <a:pt x="6036386" y="1721512"/>
                </a:cubicBezTo>
                <a:cubicBezTo>
                  <a:pt x="6032715" y="1727179"/>
                  <a:pt x="6027046" y="1723507"/>
                  <a:pt x="6014709" y="1711489"/>
                </a:cubicBezTo>
                <a:cubicBezTo>
                  <a:pt x="6013711" y="1706819"/>
                  <a:pt x="6013711" y="1706819"/>
                  <a:pt x="6013711" y="1706819"/>
                </a:cubicBezTo>
                <a:cubicBezTo>
                  <a:pt x="6013711" y="1706819"/>
                  <a:pt x="6009041" y="1707816"/>
                  <a:pt x="6008043" y="1703145"/>
                </a:cubicBezTo>
                <a:cubicBezTo>
                  <a:pt x="6008043" y="1703145"/>
                  <a:pt x="6007045" y="1698475"/>
                  <a:pt x="6007045" y="1698475"/>
                </a:cubicBezTo>
                <a:cubicBezTo>
                  <a:pt x="6002374" y="1699472"/>
                  <a:pt x="6002374" y="1699472"/>
                  <a:pt x="6002374" y="1699472"/>
                </a:cubicBezTo>
                <a:cubicBezTo>
                  <a:pt x="6001375" y="1694802"/>
                  <a:pt x="6001375" y="1694802"/>
                  <a:pt x="5995707" y="1691128"/>
                </a:cubicBezTo>
                <a:cubicBezTo>
                  <a:pt x="5998381" y="1680788"/>
                  <a:pt x="5976703" y="1670768"/>
                  <a:pt x="5981375" y="1669769"/>
                </a:cubicBezTo>
                <a:cubicBezTo>
                  <a:pt x="5981375" y="1669769"/>
                  <a:pt x="5986045" y="1668771"/>
                  <a:pt x="5986045" y="1668771"/>
                </a:cubicBezTo>
                <a:cubicBezTo>
                  <a:pt x="5987045" y="1673440"/>
                  <a:pt x="5991715" y="1672443"/>
                  <a:pt x="5991715" y="1672443"/>
                </a:cubicBezTo>
                <a:cubicBezTo>
                  <a:pt x="5990715" y="1667773"/>
                  <a:pt x="5986045" y="1668771"/>
                  <a:pt x="5985048" y="1664101"/>
                </a:cubicBezTo>
                <a:cubicBezTo>
                  <a:pt x="5985048" y="1664101"/>
                  <a:pt x="5979379" y="1660427"/>
                  <a:pt x="5979379" y="1660427"/>
                </a:cubicBezTo>
                <a:cubicBezTo>
                  <a:pt x="5972712" y="1652083"/>
                  <a:pt x="5966045" y="1643739"/>
                  <a:pt x="5961375" y="1644738"/>
                </a:cubicBezTo>
                <a:cubicBezTo>
                  <a:pt x="5961375" y="1644738"/>
                  <a:pt x="5961375" y="1644738"/>
                  <a:pt x="5960376" y="1640066"/>
                </a:cubicBezTo>
                <a:cubicBezTo>
                  <a:pt x="5960376" y="1640066"/>
                  <a:pt x="5959379" y="1635394"/>
                  <a:pt x="5953710" y="1631721"/>
                </a:cubicBezTo>
                <a:cubicBezTo>
                  <a:pt x="5953710" y="1631721"/>
                  <a:pt x="5949037" y="1632720"/>
                  <a:pt x="5949037" y="1632720"/>
                </a:cubicBezTo>
                <a:cubicBezTo>
                  <a:pt x="5949037" y="1632720"/>
                  <a:pt x="5950036" y="1637390"/>
                  <a:pt x="5950036" y="1637390"/>
                </a:cubicBezTo>
                <a:cubicBezTo>
                  <a:pt x="5949037" y="1632720"/>
                  <a:pt x="5948040" y="1628050"/>
                  <a:pt x="5942371" y="1624375"/>
                </a:cubicBezTo>
                <a:cubicBezTo>
                  <a:pt x="5943369" y="1629047"/>
                  <a:pt x="5938699" y="1630045"/>
                  <a:pt x="5933029" y="1626372"/>
                </a:cubicBezTo>
                <a:cubicBezTo>
                  <a:pt x="5937700" y="1625373"/>
                  <a:pt x="5932031" y="1621701"/>
                  <a:pt x="5931033" y="1617029"/>
                </a:cubicBezTo>
                <a:cubicBezTo>
                  <a:pt x="5925364" y="1613357"/>
                  <a:pt x="5925364" y="1613357"/>
                  <a:pt x="5925364" y="1613357"/>
                </a:cubicBezTo>
                <a:cubicBezTo>
                  <a:pt x="5924365" y="1608686"/>
                  <a:pt x="5924365" y="1608686"/>
                  <a:pt x="5924365" y="1608686"/>
                </a:cubicBezTo>
                <a:cubicBezTo>
                  <a:pt x="5919695" y="1609683"/>
                  <a:pt x="5919695" y="1609683"/>
                  <a:pt x="5919695" y="1609683"/>
                </a:cubicBezTo>
                <a:cubicBezTo>
                  <a:pt x="5919695" y="1609683"/>
                  <a:pt x="5919695" y="1609683"/>
                  <a:pt x="5920694" y="1614354"/>
                </a:cubicBezTo>
                <a:cubicBezTo>
                  <a:pt x="5901691" y="1593994"/>
                  <a:pt x="5882689" y="1573632"/>
                  <a:pt x="5872349" y="1570957"/>
                </a:cubicBezTo>
                <a:cubicBezTo>
                  <a:pt x="5866678" y="1567284"/>
                  <a:pt x="5866678" y="1567284"/>
                  <a:pt x="5865681" y="1562613"/>
                </a:cubicBezTo>
                <a:cubicBezTo>
                  <a:pt x="5860011" y="1558939"/>
                  <a:pt x="5860011" y="1558939"/>
                  <a:pt x="5855341" y="1559936"/>
                </a:cubicBezTo>
                <a:lnTo>
                  <a:pt x="5856125" y="1563605"/>
                </a:lnTo>
                <a:lnTo>
                  <a:pt x="5841049" y="1551621"/>
                </a:lnTo>
                <a:cubicBezTo>
                  <a:pt x="5824309" y="1537567"/>
                  <a:pt x="5816995" y="1529056"/>
                  <a:pt x="5789989" y="1505521"/>
                </a:cubicBezTo>
                <a:cubicBezTo>
                  <a:pt x="5773977" y="1499174"/>
                  <a:pt x="5768311" y="1495498"/>
                  <a:pt x="5763639" y="1496497"/>
                </a:cubicBezTo>
                <a:cubicBezTo>
                  <a:pt x="5762641" y="1491827"/>
                  <a:pt x="5767313" y="1490830"/>
                  <a:pt x="5760645" y="1482484"/>
                </a:cubicBezTo>
                <a:cubicBezTo>
                  <a:pt x="5751305" y="1484481"/>
                  <a:pt x="5748309" y="1470467"/>
                  <a:pt x="5731302" y="1459447"/>
                </a:cubicBezTo>
                <a:cubicBezTo>
                  <a:pt x="5714295" y="1448430"/>
                  <a:pt x="5728629" y="1469789"/>
                  <a:pt x="5710622" y="1454098"/>
                </a:cubicBezTo>
                <a:cubicBezTo>
                  <a:pt x="5726632" y="1460446"/>
                  <a:pt x="5708627" y="1444756"/>
                  <a:pt x="5691620" y="1433737"/>
                </a:cubicBezTo>
                <a:cubicBezTo>
                  <a:pt x="5696290" y="1432738"/>
                  <a:pt x="5696290" y="1432738"/>
                  <a:pt x="5696290" y="1432738"/>
                </a:cubicBezTo>
                <a:cubicBezTo>
                  <a:pt x="5701960" y="1436412"/>
                  <a:pt x="5707630" y="1440085"/>
                  <a:pt x="5706631" y="1435415"/>
                </a:cubicBezTo>
                <a:cubicBezTo>
                  <a:pt x="5706631" y="1435415"/>
                  <a:pt x="5705634" y="1430743"/>
                  <a:pt x="5699964" y="1427069"/>
                </a:cubicBezTo>
                <a:cubicBezTo>
                  <a:pt x="5694295" y="1423397"/>
                  <a:pt x="5694295" y="1423397"/>
                  <a:pt x="5694295" y="1423397"/>
                </a:cubicBezTo>
                <a:cubicBezTo>
                  <a:pt x="5698967" y="1422399"/>
                  <a:pt x="5706631" y="1435415"/>
                  <a:pt x="5710304" y="1429745"/>
                </a:cubicBezTo>
                <a:cubicBezTo>
                  <a:pt x="5698967" y="1422399"/>
                  <a:pt x="5692299" y="1414056"/>
                  <a:pt x="5687628" y="1415053"/>
                </a:cubicBezTo>
                <a:cubicBezTo>
                  <a:pt x="5682958" y="1416052"/>
                  <a:pt x="5682958" y="1416052"/>
                  <a:pt x="5681959" y="1411380"/>
                </a:cubicBezTo>
                <a:cubicBezTo>
                  <a:pt x="5676291" y="1407706"/>
                  <a:pt x="5670621" y="1404035"/>
                  <a:pt x="5665951" y="1405033"/>
                </a:cubicBezTo>
                <a:cubicBezTo>
                  <a:pt x="5665951" y="1405033"/>
                  <a:pt x="5666948" y="1409702"/>
                  <a:pt x="5672618" y="1413376"/>
                </a:cubicBezTo>
                <a:cubicBezTo>
                  <a:pt x="5673615" y="1418048"/>
                  <a:pt x="5673615" y="1418048"/>
                  <a:pt x="5673615" y="1418048"/>
                </a:cubicBezTo>
                <a:cubicBezTo>
                  <a:pt x="5663275" y="1415371"/>
                  <a:pt x="5665271" y="1424714"/>
                  <a:pt x="5656608" y="1407029"/>
                </a:cubicBezTo>
                <a:cubicBezTo>
                  <a:pt x="5652935" y="1412696"/>
                  <a:pt x="5664273" y="1420042"/>
                  <a:pt x="5665271" y="1424714"/>
                </a:cubicBezTo>
                <a:cubicBezTo>
                  <a:pt x="5647267" y="1409023"/>
                  <a:pt x="5650937" y="1403355"/>
                  <a:pt x="5639602" y="1396008"/>
                </a:cubicBezTo>
                <a:cubicBezTo>
                  <a:pt x="5644273" y="1395011"/>
                  <a:pt x="5645271" y="1399681"/>
                  <a:pt x="5645271" y="1399681"/>
                </a:cubicBezTo>
                <a:cubicBezTo>
                  <a:pt x="5650937" y="1403355"/>
                  <a:pt x="5650937" y="1403355"/>
                  <a:pt x="5654611" y="1397686"/>
                </a:cubicBezTo>
                <a:cubicBezTo>
                  <a:pt x="5654611" y="1397686"/>
                  <a:pt x="5648943" y="1394013"/>
                  <a:pt x="5643275" y="1390339"/>
                </a:cubicBezTo>
                <a:cubicBezTo>
                  <a:pt x="5653615" y="1393016"/>
                  <a:pt x="5652617" y="1388343"/>
                  <a:pt x="5642277" y="1385668"/>
                </a:cubicBezTo>
                <a:cubicBezTo>
                  <a:pt x="5641279" y="1380997"/>
                  <a:pt x="5641279" y="1380997"/>
                  <a:pt x="5641279" y="1380997"/>
                </a:cubicBezTo>
                <a:cubicBezTo>
                  <a:pt x="5646947" y="1384671"/>
                  <a:pt x="5645949" y="1379999"/>
                  <a:pt x="5645949" y="1379999"/>
                </a:cubicBezTo>
                <a:cubicBezTo>
                  <a:pt x="5640281" y="1376325"/>
                  <a:pt x="5640281" y="1376325"/>
                  <a:pt x="5635609" y="1377324"/>
                </a:cubicBezTo>
                <a:cubicBezTo>
                  <a:pt x="5634612" y="1372654"/>
                  <a:pt x="5634612" y="1372654"/>
                  <a:pt x="5629939" y="1373652"/>
                </a:cubicBezTo>
                <a:cubicBezTo>
                  <a:pt x="5623273" y="1365308"/>
                  <a:pt x="5623273" y="1365308"/>
                  <a:pt x="5616607" y="1356962"/>
                </a:cubicBezTo>
                <a:cubicBezTo>
                  <a:pt x="5622275" y="1360636"/>
                  <a:pt x="5622275" y="1360636"/>
                  <a:pt x="5622275" y="1360636"/>
                </a:cubicBezTo>
                <a:cubicBezTo>
                  <a:pt x="5627945" y="1364309"/>
                  <a:pt x="5632616" y="1363312"/>
                  <a:pt x="5632616" y="1363312"/>
                </a:cubicBezTo>
                <a:cubicBezTo>
                  <a:pt x="5631617" y="1358640"/>
                  <a:pt x="5625949" y="1354966"/>
                  <a:pt x="5620280" y="1351294"/>
                </a:cubicBezTo>
                <a:cubicBezTo>
                  <a:pt x="5614611" y="1347621"/>
                  <a:pt x="5614611" y="1347621"/>
                  <a:pt x="5614611" y="1347621"/>
                </a:cubicBezTo>
                <a:cubicBezTo>
                  <a:pt x="5608941" y="1343947"/>
                  <a:pt x="5608941" y="1343947"/>
                  <a:pt x="5608941" y="1343947"/>
                </a:cubicBezTo>
                <a:cubicBezTo>
                  <a:pt x="5603273" y="1340275"/>
                  <a:pt x="5598601" y="1341272"/>
                  <a:pt x="5599600" y="1345945"/>
                </a:cubicBezTo>
                <a:cubicBezTo>
                  <a:pt x="5599600" y="1345945"/>
                  <a:pt x="5600599" y="1350615"/>
                  <a:pt x="5606266" y="1354289"/>
                </a:cubicBezTo>
                <a:cubicBezTo>
                  <a:pt x="5606266" y="1354289"/>
                  <a:pt x="5606266" y="1354289"/>
                  <a:pt x="5610937" y="1353291"/>
                </a:cubicBezTo>
                <a:cubicBezTo>
                  <a:pt x="5616607" y="1356962"/>
                  <a:pt x="5616607" y="1356962"/>
                  <a:pt x="5616607" y="1356962"/>
                </a:cubicBezTo>
                <a:cubicBezTo>
                  <a:pt x="5591255" y="1352611"/>
                  <a:pt x="5612933" y="1362633"/>
                  <a:pt x="5625269" y="1374649"/>
                </a:cubicBezTo>
                <a:cubicBezTo>
                  <a:pt x="5619601" y="1370976"/>
                  <a:pt x="5619601" y="1370976"/>
                  <a:pt x="5619601" y="1370976"/>
                </a:cubicBezTo>
                <a:cubicBezTo>
                  <a:pt x="5619601" y="1370976"/>
                  <a:pt x="5620599" y="1375646"/>
                  <a:pt x="5620599" y="1375646"/>
                </a:cubicBezTo>
                <a:cubicBezTo>
                  <a:pt x="5620599" y="1375646"/>
                  <a:pt x="5620599" y="1375646"/>
                  <a:pt x="5621597" y="1380318"/>
                </a:cubicBezTo>
                <a:cubicBezTo>
                  <a:pt x="5626267" y="1379320"/>
                  <a:pt x="5626267" y="1379320"/>
                  <a:pt x="5626267" y="1379320"/>
                </a:cubicBezTo>
                <a:cubicBezTo>
                  <a:pt x="5631935" y="1382993"/>
                  <a:pt x="5631935" y="1382993"/>
                  <a:pt x="5631935" y="1382993"/>
                </a:cubicBezTo>
                <a:cubicBezTo>
                  <a:pt x="5627265" y="1383992"/>
                  <a:pt x="5627265" y="1383992"/>
                  <a:pt x="5627265" y="1383992"/>
                </a:cubicBezTo>
                <a:cubicBezTo>
                  <a:pt x="5627265" y="1383992"/>
                  <a:pt x="5628263" y="1388662"/>
                  <a:pt x="5632935" y="1387664"/>
                </a:cubicBezTo>
                <a:cubicBezTo>
                  <a:pt x="5633931" y="1392336"/>
                  <a:pt x="5633931" y="1392336"/>
                  <a:pt x="5633931" y="1392336"/>
                </a:cubicBezTo>
                <a:cubicBezTo>
                  <a:pt x="5618921" y="1390658"/>
                  <a:pt x="5612255" y="1382314"/>
                  <a:pt x="5594249" y="1366625"/>
                </a:cubicBezTo>
                <a:cubicBezTo>
                  <a:pt x="5598919" y="1365626"/>
                  <a:pt x="5598919" y="1365626"/>
                  <a:pt x="5598919" y="1365626"/>
                </a:cubicBezTo>
                <a:cubicBezTo>
                  <a:pt x="5603592" y="1364627"/>
                  <a:pt x="5603592" y="1364627"/>
                  <a:pt x="5603592" y="1364627"/>
                </a:cubicBezTo>
                <a:cubicBezTo>
                  <a:pt x="5597922" y="1360955"/>
                  <a:pt x="5597922" y="1360955"/>
                  <a:pt x="5597922" y="1360955"/>
                </a:cubicBezTo>
                <a:cubicBezTo>
                  <a:pt x="5593251" y="1361952"/>
                  <a:pt x="5593251" y="1361952"/>
                  <a:pt x="5593251" y="1361952"/>
                </a:cubicBezTo>
                <a:cubicBezTo>
                  <a:pt x="5587582" y="1358280"/>
                  <a:pt x="5587582" y="1358280"/>
                  <a:pt x="5587582" y="1358280"/>
                </a:cubicBezTo>
                <a:cubicBezTo>
                  <a:pt x="5581915" y="1354607"/>
                  <a:pt x="5585586" y="1348938"/>
                  <a:pt x="5574249" y="1341592"/>
                </a:cubicBezTo>
                <a:cubicBezTo>
                  <a:pt x="5573250" y="1336920"/>
                  <a:pt x="5573250" y="1336920"/>
                  <a:pt x="5573250" y="1336920"/>
                </a:cubicBezTo>
                <a:cubicBezTo>
                  <a:pt x="5568580" y="1337918"/>
                  <a:pt x="5567581" y="1333248"/>
                  <a:pt x="5567581" y="1333248"/>
                </a:cubicBezTo>
                <a:cubicBezTo>
                  <a:pt x="5562910" y="1334245"/>
                  <a:pt x="5562910" y="1334245"/>
                  <a:pt x="5562910" y="1334245"/>
                </a:cubicBezTo>
                <a:cubicBezTo>
                  <a:pt x="5563907" y="1338917"/>
                  <a:pt x="5563907" y="1338917"/>
                  <a:pt x="5563907" y="1338917"/>
                </a:cubicBezTo>
                <a:cubicBezTo>
                  <a:pt x="5552570" y="1331570"/>
                  <a:pt x="5549577" y="1317557"/>
                  <a:pt x="5540235" y="1319554"/>
                </a:cubicBezTo>
                <a:cubicBezTo>
                  <a:pt x="5540235" y="1319554"/>
                  <a:pt x="5535564" y="1320551"/>
                  <a:pt x="5534565" y="1315881"/>
                </a:cubicBezTo>
                <a:cubicBezTo>
                  <a:pt x="5534565" y="1315881"/>
                  <a:pt x="5529895" y="1316878"/>
                  <a:pt x="5529895" y="1316878"/>
                </a:cubicBezTo>
                <a:cubicBezTo>
                  <a:pt x="5530893" y="1321550"/>
                  <a:pt x="5530893" y="1321550"/>
                  <a:pt x="5530893" y="1321550"/>
                </a:cubicBezTo>
                <a:cubicBezTo>
                  <a:pt x="5505223" y="1292844"/>
                  <a:pt x="5519555" y="1314203"/>
                  <a:pt x="5510213" y="1316199"/>
                </a:cubicBezTo>
                <a:cubicBezTo>
                  <a:pt x="5501549" y="1298513"/>
                  <a:pt x="5467535" y="1276475"/>
                  <a:pt x="5439193" y="1258110"/>
                </a:cubicBezTo>
                <a:cubicBezTo>
                  <a:pt x="5435519" y="1263778"/>
                  <a:pt x="5435519" y="1263778"/>
                  <a:pt x="5435519" y="1263778"/>
                </a:cubicBezTo>
                <a:cubicBezTo>
                  <a:pt x="5434519" y="1259108"/>
                  <a:pt x="5434519" y="1259108"/>
                  <a:pt x="5434519" y="1259108"/>
                </a:cubicBezTo>
                <a:cubicBezTo>
                  <a:pt x="5434519" y="1259108"/>
                  <a:pt x="5433522" y="1254436"/>
                  <a:pt x="5428851" y="1255434"/>
                </a:cubicBezTo>
                <a:cubicBezTo>
                  <a:pt x="5428851" y="1255434"/>
                  <a:pt x="5429849" y="1260105"/>
                  <a:pt x="5429849" y="1260105"/>
                </a:cubicBezTo>
                <a:cubicBezTo>
                  <a:pt x="5412842" y="1249086"/>
                  <a:pt x="5399507" y="1232398"/>
                  <a:pt x="5392843" y="1224054"/>
                </a:cubicBezTo>
                <a:cubicBezTo>
                  <a:pt x="5389167" y="1229722"/>
                  <a:pt x="5390166" y="1234394"/>
                  <a:pt x="5384497" y="1230720"/>
                </a:cubicBezTo>
                <a:cubicBezTo>
                  <a:pt x="5383499" y="1226050"/>
                  <a:pt x="5383499" y="1226050"/>
                  <a:pt x="5377830" y="1222376"/>
                </a:cubicBezTo>
                <a:cubicBezTo>
                  <a:pt x="5374157" y="1228047"/>
                  <a:pt x="5373160" y="1223374"/>
                  <a:pt x="5366493" y="1215031"/>
                </a:cubicBezTo>
                <a:cubicBezTo>
                  <a:pt x="5366493" y="1215031"/>
                  <a:pt x="5366493" y="1215031"/>
                  <a:pt x="5371164" y="1214034"/>
                </a:cubicBezTo>
                <a:cubicBezTo>
                  <a:pt x="5371164" y="1214034"/>
                  <a:pt x="5371164" y="1214034"/>
                  <a:pt x="5370165" y="1209361"/>
                </a:cubicBezTo>
                <a:cubicBezTo>
                  <a:pt x="5365495" y="1210360"/>
                  <a:pt x="5364497" y="1205689"/>
                  <a:pt x="5359825" y="1206686"/>
                </a:cubicBezTo>
                <a:cubicBezTo>
                  <a:pt x="5359825" y="1206686"/>
                  <a:pt x="5355155" y="1207685"/>
                  <a:pt x="5355155" y="1207685"/>
                </a:cubicBezTo>
                <a:cubicBezTo>
                  <a:pt x="5353159" y="1198342"/>
                  <a:pt x="5305132" y="1179299"/>
                  <a:pt x="5316471" y="1186644"/>
                </a:cubicBezTo>
                <a:cubicBezTo>
                  <a:pt x="5330483" y="1183650"/>
                  <a:pt x="5315790" y="1206325"/>
                  <a:pt x="5328805" y="1198660"/>
                </a:cubicBezTo>
                <a:lnTo>
                  <a:pt x="5339148" y="1201337"/>
                </a:lnTo>
                <a:lnTo>
                  <a:pt x="5339145" y="1201337"/>
                </a:lnTo>
                <a:cubicBezTo>
                  <a:pt x="5334475" y="1202334"/>
                  <a:pt x="5340143" y="1206007"/>
                  <a:pt x="5340143" y="1206007"/>
                </a:cubicBezTo>
                <a:cubicBezTo>
                  <a:pt x="5345813" y="1209681"/>
                  <a:pt x="5345813" y="1209681"/>
                  <a:pt x="5345813" y="1209681"/>
                </a:cubicBezTo>
                <a:cubicBezTo>
                  <a:pt x="5341141" y="1210678"/>
                  <a:pt x="5341141" y="1210678"/>
                  <a:pt x="5341141" y="1210678"/>
                </a:cubicBezTo>
                <a:cubicBezTo>
                  <a:pt x="5340143" y="1206007"/>
                  <a:pt x="5335473" y="1207006"/>
                  <a:pt x="5335473" y="1207006"/>
                </a:cubicBezTo>
                <a:cubicBezTo>
                  <a:pt x="5335473" y="1207006"/>
                  <a:pt x="5336470" y="1211676"/>
                  <a:pt x="5336470" y="1211676"/>
                </a:cubicBezTo>
                <a:cubicBezTo>
                  <a:pt x="5342139" y="1215350"/>
                  <a:pt x="5342139" y="1215350"/>
                  <a:pt x="5342139" y="1215350"/>
                </a:cubicBezTo>
                <a:cubicBezTo>
                  <a:pt x="5347809" y="1219022"/>
                  <a:pt x="5347809" y="1219022"/>
                  <a:pt x="5347809" y="1219022"/>
                </a:cubicBezTo>
                <a:cubicBezTo>
                  <a:pt x="5347809" y="1219022"/>
                  <a:pt x="5337469" y="1216347"/>
                  <a:pt x="5337469" y="1216347"/>
                </a:cubicBezTo>
                <a:cubicBezTo>
                  <a:pt x="5331799" y="1212674"/>
                  <a:pt x="5331799" y="1212674"/>
                  <a:pt x="5331799" y="1212674"/>
                </a:cubicBezTo>
                <a:cubicBezTo>
                  <a:pt x="5326130" y="1209000"/>
                  <a:pt x="5326130" y="1209000"/>
                  <a:pt x="5326130" y="1209000"/>
                </a:cubicBezTo>
                <a:cubicBezTo>
                  <a:pt x="5325133" y="1204330"/>
                  <a:pt x="5319464" y="1200656"/>
                  <a:pt x="5314793" y="1201655"/>
                </a:cubicBezTo>
                <a:cubicBezTo>
                  <a:pt x="5310121" y="1202653"/>
                  <a:pt x="5311119" y="1207324"/>
                  <a:pt x="5316787" y="1210996"/>
                </a:cubicBezTo>
                <a:cubicBezTo>
                  <a:pt x="5316787" y="1210996"/>
                  <a:pt x="5316787" y="1210996"/>
                  <a:pt x="5317786" y="1215668"/>
                </a:cubicBezTo>
                <a:cubicBezTo>
                  <a:pt x="5300780" y="1204649"/>
                  <a:pt x="5314793" y="1201655"/>
                  <a:pt x="5294113" y="1196306"/>
                </a:cubicBezTo>
                <a:cubicBezTo>
                  <a:pt x="5298783" y="1195307"/>
                  <a:pt x="5298783" y="1195307"/>
                  <a:pt x="5298783" y="1195307"/>
                </a:cubicBezTo>
                <a:cubicBezTo>
                  <a:pt x="5298783" y="1195307"/>
                  <a:pt x="5298783" y="1195307"/>
                  <a:pt x="5297785" y="1190636"/>
                </a:cubicBezTo>
                <a:cubicBezTo>
                  <a:pt x="5293114" y="1191633"/>
                  <a:pt x="5293114" y="1191633"/>
                  <a:pt x="5293114" y="1191633"/>
                </a:cubicBezTo>
                <a:cubicBezTo>
                  <a:pt x="5293114" y="1191633"/>
                  <a:pt x="5288443" y="1192631"/>
                  <a:pt x="5288443" y="1192631"/>
                </a:cubicBezTo>
                <a:cubicBezTo>
                  <a:pt x="5282775" y="1188958"/>
                  <a:pt x="5282775" y="1188958"/>
                  <a:pt x="5282775" y="1188958"/>
                </a:cubicBezTo>
                <a:cubicBezTo>
                  <a:pt x="5277105" y="1185286"/>
                  <a:pt x="5277105" y="1185286"/>
                  <a:pt x="5265767" y="1177939"/>
                </a:cubicBezTo>
                <a:cubicBezTo>
                  <a:pt x="5258421" y="1189278"/>
                  <a:pt x="5234748" y="1169914"/>
                  <a:pt x="5237741" y="1183927"/>
                </a:cubicBezTo>
                <a:cubicBezTo>
                  <a:pt x="5247083" y="1181931"/>
                  <a:pt x="5253750" y="1190277"/>
                  <a:pt x="5264090" y="1192949"/>
                </a:cubicBezTo>
                <a:cubicBezTo>
                  <a:pt x="5253750" y="1190277"/>
                  <a:pt x="5253750" y="1190277"/>
                  <a:pt x="5254749" y="1194947"/>
                </a:cubicBezTo>
                <a:cubicBezTo>
                  <a:pt x="5254749" y="1194947"/>
                  <a:pt x="5254749" y="1194947"/>
                  <a:pt x="5255746" y="1199616"/>
                </a:cubicBezTo>
                <a:cubicBezTo>
                  <a:pt x="5243410" y="1187600"/>
                  <a:pt x="5226404" y="1176581"/>
                  <a:pt x="5210394" y="1170233"/>
                </a:cubicBezTo>
                <a:cubicBezTo>
                  <a:pt x="5199057" y="1162887"/>
                  <a:pt x="5182049" y="1151868"/>
                  <a:pt x="5166041" y="1145520"/>
                </a:cubicBezTo>
                <a:cubicBezTo>
                  <a:pt x="5171709" y="1149192"/>
                  <a:pt x="5182049" y="1151868"/>
                  <a:pt x="5175383" y="1143524"/>
                </a:cubicBezTo>
                <a:cubicBezTo>
                  <a:pt x="5154702" y="1138173"/>
                  <a:pt x="5154702" y="1138173"/>
                  <a:pt x="5152707" y="1128832"/>
                </a:cubicBezTo>
                <a:cubicBezTo>
                  <a:pt x="5132025" y="1123480"/>
                  <a:pt x="5124363" y="1110465"/>
                  <a:pt x="5132025" y="1123480"/>
                </a:cubicBezTo>
                <a:cubicBezTo>
                  <a:pt x="5127356" y="1124478"/>
                  <a:pt x="5127356" y="1124478"/>
                  <a:pt x="5122685" y="1125476"/>
                </a:cubicBezTo>
                <a:cubicBezTo>
                  <a:pt x="5095337" y="1111782"/>
                  <a:pt x="5068989" y="1102760"/>
                  <a:pt x="5046313" y="1088067"/>
                </a:cubicBezTo>
                <a:cubicBezTo>
                  <a:pt x="5041643" y="1089066"/>
                  <a:pt x="5035973" y="1085392"/>
                  <a:pt x="5030303" y="1081718"/>
                </a:cubicBezTo>
                <a:cubicBezTo>
                  <a:pt x="5050983" y="1087069"/>
                  <a:pt x="5065997" y="1088746"/>
                  <a:pt x="5086675" y="1094097"/>
                </a:cubicBezTo>
                <a:cubicBezTo>
                  <a:pt x="5086675" y="1094097"/>
                  <a:pt x="5103683" y="1105116"/>
                  <a:pt x="5085676" y="1089426"/>
                </a:cubicBezTo>
                <a:cubicBezTo>
                  <a:pt x="5091346" y="1093098"/>
                  <a:pt x="5101686" y="1095775"/>
                  <a:pt x="5095019" y="1087429"/>
                </a:cubicBezTo>
                <a:cubicBezTo>
                  <a:pt x="5076335" y="1091420"/>
                  <a:pt x="5054656" y="1081400"/>
                  <a:pt x="5029307" y="1077048"/>
                </a:cubicBezTo>
                <a:cubicBezTo>
                  <a:pt x="5033976" y="1076051"/>
                  <a:pt x="5032979" y="1071380"/>
                  <a:pt x="5028309" y="1072377"/>
                </a:cubicBezTo>
                <a:cubicBezTo>
                  <a:pt x="5032979" y="1071380"/>
                  <a:pt x="5032979" y="1071380"/>
                  <a:pt x="5032979" y="1071380"/>
                </a:cubicBezTo>
                <a:cubicBezTo>
                  <a:pt x="5031981" y="1066707"/>
                  <a:pt x="5031981" y="1066707"/>
                  <a:pt x="5027310" y="1067706"/>
                </a:cubicBezTo>
                <a:cubicBezTo>
                  <a:pt x="5026313" y="1063036"/>
                  <a:pt x="5015971" y="1060359"/>
                  <a:pt x="5005631" y="1057685"/>
                </a:cubicBezTo>
                <a:cubicBezTo>
                  <a:pt x="5000961" y="1058683"/>
                  <a:pt x="5000961" y="1058683"/>
                  <a:pt x="5000961" y="1058683"/>
                </a:cubicBezTo>
                <a:cubicBezTo>
                  <a:pt x="4999964" y="1054011"/>
                  <a:pt x="4999964" y="1054011"/>
                  <a:pt x="4995291" y="1055010"/>
                </a:cubicBezTo>
                <a:cubicBezTo>
                  <a:pt x="4989623" y="1051337"/>
                  <a:pt x="4989623" y="1051337"/>
                  <a:pt x="4983954" y="1047662"/>
                </a:cubicBezTo>
                <a:cubicBezTo>
                  <a:pt x="4983954" y="1047662"/>
                  <a:pt x="4982957" y="1042992"/>
                  <a:pt x="4982957" y="1042992"/>
                </a:cubicBezTo>
                <a:cubicBezTo>
                  <a:pt x="4977287" y="1039320"/>
                  <a:pt x="4977287" y="1039320"/>
                  <a:pt x="4977287" y="1039320"/>
                </a:cubicBezTo>
                <a:cubicBezTo>
                  <a:pt x="4973614" y="1044988"/>
                  <a:pt x="4973614" y="1044988"/>
                  <a:pt x="4973614" y="1044988"/>
                </a:cubicBezTo>
                <a:cubicBezTo>
                  <a:pt x="4962277" y="1037643"/>
                  <a:pt x="4952934" y="1039638"/>
                  <a:pt x="4942594" y="1036963"/>
                </a:cubicBezTo>
                <a:cubicBezTo>
                  <a:pt x="4942594" y="1036963"/>
                  <a:pt x="4947265" y="1035964"/>
                  <a:pt x="4947265" y="1035964"/>
                </a:cubicBezTo>
                <a:cubicBezTo>
                  <a:pt x="4947265" y="1035964"/>
                  <a:pt x="4947265" y="1035964"/>
                  <a:pt x="4946267" y="1031294"/>
                </a:cubicBezTo>
                <a:cubicBezTo>
                  <a:pt x="4946267" y="1031294"/>
                  <a:pt x="4941597" y="1032293"/>
                  <a:pt x="4941597" y="1032293"/>
                </a:cubicBezTo>
                <a:cubicBezTo>
                  <a:pt x="4941597" y="1032293"/>
                  <a:pt x="4936925" y="1033290"/>
                  <a:pt x="4936925" y="1033290"/>
                </a:cubicBezTo>
                <a:cubicBezTo>
                  <a:pt x="4945269" y="1026623"/>
                  <a:pt x="4900235" y="1021592"/>
                  <a:pt x="4921914" y="1031612"/>
                </a:cubicBezTo>
                <a:cubicBezTo>
                  <a:pt x="4922913" y="1036284"/>
                  <a:pt x="4927583" y="1035286"/>
                  <a:pt x="4927583" y="1035286"/>
                </a:cubicBezTo>
                <a:cubicBezTo>
                  <a:pt x="4914567" y="1042949"/>
                  <a:pt x="4957604" y="1038641"/>
                  <a:pt x="4973614" y="1044988"/>
                </a:cubicBezTo>
                <a:cubicBezTo>
                  <a:pt x="4968943" y="1045986"/>
                  <a:pt x="4968943" y="1045986"/>
                  <a:pt x="4964271" y="1046983"/>
                </a:cubicBezTo>
                <a:cubicBezTo>
                  <a:pt x="4964271" y="1046983"/>
                  <a:pt x="4965270" y="1051656"/>
                  <a:pt x="4965270" y="1051656"/>
                </a:cubicBezTo>
                <a:cubicBezTo>
                  <a:pt x="4969940" y="1050657"/>
                  <a:pt x="4969940" y="1050657"/>
                  <a:pt x="4969940" y="1050657"/>
                </a:cubicBezTo>
                <a:cubicBezTo>
                  <a:pt x="4970937" y="1055328"/>
                  <a:pt x="4975610" y="1054330"/>
                  <a:pt x="4975610" y="1054330"/>
                </a:cubicBezTo>
                <a:cubicBezTo>
                  <a:pt x="4980281" y="1053332"/>
                  <a:pt x="4980281" y="1053332"/>
                  <a:pt x="4980281" y="1053332"/>
                </a:cubicBezTo>
                <a:cubicBezTo>
                  <a:pt x="5002957" y="1068025"/>
                  <a:pt x="4954930" y="1048979"/>
                  <a:pt x="4976607" y="1059002"/>
                </a:cubicBezTo>
                <a:cubicBezTo>
                  <a:pt x="4966267" y="1056326"/>
                  <a:pt x="4955927" y="1053650"/>
                  <a:pt x="4945587" y="1050975"/>
                </a:cubicBezTo>
                <a:cubicBezTo>
                  <a:pt x="4926745" y="1042790"/>
                  <a:pt x="4906983" y="1036024"/>
                  <a:pt x="4888638" y="1030174"/>
                </a:cubicBezTo>
                <a:lnTo>
                  <a:pt x="4883576" y="1028576"/>
                </a:lnTo>
                <a:lnTo>
                  <a:pt x="4677737" y="918554"/>
                </a:lnTo>
                <a:cubicBezTo>
                  <a:pt x="4618194" y="886663"/>
                  <a:pt x="4554209" y="871943"/>
                  <a:pt x="4486061" y="866223"/>
                </a:cubicBezTo>
                <a:cubicBezTo>
                  <a:pt x="4338547" y="859209"/>
                  <a:pt x="4194645" y="831144"/>
                  <a:pt x="4048372" y="829950"/>
                </a:cubicBezTo>
                <a:cubicBezTo>
                  <a:pt x="3646949" y="830539"/>
                  <a:pt x="3256016" y="889726"/>
                  <a:pt x="2878191" y="1029255"/>
                </a:cubicBezTo>
                <a:cubicBezTo>
                  <a:pt x="2787997" y="1062720"/>
                  <a:pt x="2702509" y="1099236"/>
                  <a:pt x="2628640" y="1161658"/>
                </a:cubicBezTo>
                <a:cubicBezTo>
                  <a:pt x="2511256" y="1257713"/>
                  <a:pt x="2371313" y="1324113"/>
                  <a:pt x="2250745" y="1414763"/>
                </a:cubicBezTo>
                <a:cubicBezTo>
                  <a:pt x="2238411" y="1423482"/>
                  <a:pt x="2220675" y="1435383"/>
                  <a:pt x="2208076" y="1423878"/>
                </a:cubicBezTo>
                <a:cubicBezTo>
                  <a:pt x="2204928" y="1421004"/>
                  <a:pt x="2203060" y="1417600"/>
                  <a:pt x="2202136" y="1413869"/>
                </a:cubicBezTo>
                <a:lnTo>
                  <a:pt x="2202084" y="1411629"/>
                </a:lnTo>
                <a:lnTo>
                  <a:pt x="2206238" y="1407817"/>
                </a:lnTo>
                <a:cubicBezTo>
                  <a:pt x="2380395" y="1260518"/>
                  <a:pt x="2574630" y="1132593"/>
                  <a:pt x="2786866" y="1028640"/>
                </a:cubicBezTo>
                <a:cubicBezTo>
                  <a:pt x="2787863" y="1033311"/>
                  <a:pt x="2787863" y="1033311"/>
                  <a:pt x="2792535" y="1032314"/>
                </a:cubicBezTo>
                <a:cubicBezTo>
                  <a:pt x="2792535" y="1032314"/>
                  <a:pt x="2797204" y="1031315"/>
                  <a:pt x="2797204" y="1031315"/>
                </a:cubicBezTo>
                <a:cubicBezTo>
                  <a:pt x="2792535" y="1032314"/>
                  <a:pt x="2794529" y="1041655"/>
                  <a:pt x="2802875" y="1034988"/>
                </a:cubicBezTo>
                <a:cubicBezTo>
                  <a:pt x="2794529" y="1041655"/>
                  <a:pt x="2794529" y="1041655"/>
                  <a:pt x="2794529" y="1041655"/>
                </a:cubicBezTo>
                <a:cubicBezTo>
                  <a:pt x="2789859" y="1042653"/>
                  <a:pt x="2790857" y="1047324"/>
                  <a:pt x="2795528" y="1046327"/>
                </a:cubicBezTo>
                <a:cubicBezTo>
                  <a:pt x="2795528" y="1046327"/>
                  <a:pt x="2800199" y="1045328"/>
                  <a:pt x="2800199" y="1045328"/>
                </a:cubicBezTo>
                <a:cubicBezTo>
                  <a:pt x="2804871" y="1044330"/>
                  <a:pt x="2804871" y="1044330"/>
                  <a:pt x="2804871" y="1044330"/>
                </a:cubicBezTo>
                <a:cubicBezTo>
                  <a:pt x="2808543" y="1038660"/>
                  <a:pt x="2808543" y="1038660"/>
                  <a:pt x="2808543" y="1038660"/>
                </a:cubicBezTo>
                <a:cubicBezTo>
                  <a:pt x="2813215" y="1037663"/>
                  <a:pt x="2813215" y="1037663"/>
                  <a:pt x="2813215" y="1037663"/>
                </a:cubicBezTo>
                <a:cubicBezTo>
                  <a:pt x="2810539" y="1048003"/>
                  <a:pt x="2815209" y="1047006"/>
                  <a:pt x="2829222" y="1044011"/>
                </a:cubicBezTo>
                <a:cubicBezTo>
                  <a:pt x="2836568" y="1032673"/>
                  <a:pt x="2828224" y="1039341"/>
                  <a:pt x="2830901" y="1029001"/>
                </a:cubicBezTo>
                <a:lnTo>
                  <a:pt x="2826228" y="1029998"/>
                </a:lnTo>
                <a:cubicBezTo>
                  <a:pt x="2830901" y="1029001"/>
                  <a:pt x="2829902" y="1024329"/>
                  <a:pt x="2825231" y="1025328"/>
                </a:cubicBezTo>
                <a:cubicBezTo>
                  <a:pt x="2825231" y="1025328"/>
                  <a:pt x="2815890" y="1027323"/>
                  <a:pt x="2811218" y="1028322"/>
                </a:cubicBezTo>
                <a:cubicBezTo>
                  <a:pt x="2807546" y="1033990"/>
                  <a:pt x="2807546" y="1033990"/>
                  <a:pt x="2807546" y="1033990"/>
                </a:cubicBezTo>
                <a:cubicBezTo>
                  <a:pt x="2806549" y="1029320"/>
                  <a:pt x="2811218" y="1028322"/>
                  <a:pt x="2810219" y="1023650"/>
                </a:cubicBezTo>
                <a:cubicBezTo>
                  <a:pt x="2810219" y="1023650"/>
                  <a:pt x="2814891" y="1022653"/>
                  <a:pt x="2814891" y="1022653"/>
                </a:cubicBezTo>
                <a:cubicBezTo>
                  <a:pt x="2819564" y="1021654"/>
                  <a:pt x="2823235" y="1015986"/>
                  <a:pt x="2823235" y="1015986"/>
                </a:cubicBezTo>
                <a:cubicBezTo>
                  <a:pt x="2823235" y="1015986"/>
                  <a:pt x="2823235" y="1015986"/>
                  <a:pt x="2818565" y="1016983"/>
                </a:cubicBezTo>
                <a:cubicBezTo>
                  <a:pt x="2889309" y="982332"/>
                  <a:pt x="2965723" y="951353"/>
                  <a:pt x="3037465" y="921374"/>
                </a:cubicBezTo>
                <a:cubicBezTo>
                  <a:pt x="3038464" y="926044"/>
                  <a:pt x="3044133" y="929718"/>
                  <a:pt x="3058147" y="926725"/>
                </a:cubicBezTo>
                <a:cubicBezTo>
                  <a:pt x="3057148" y="922053"/>
                  <a:pt x="3051479" y="918379"/>
                  <a:pt x="3046809" y="919377"/>
                </a:cubicBezTo>
                <a:cubicBezTo>
                  <a:pt x="3046809" y="919377"/>
                  <a:pt x="3051479" y="918379"/>
                  <a:pt x="3051479" y="918379"/>
                </a:cubicBezTo>
                <a:cubicBezTo>
                  <a:pt x="3199715" y="863510"/>
                  <a:pt x="3349591" y="822028"/>
                  <a:pt x="3499823" y="793288"/>
                </a:cubicBezTo>
                <a:lnTo>
                  <a:pt x="3644023" y="771778"/>
                </a:lnTo>
                <a:lnTo>
                  <a:pt x="3664087" y="769873"/>
                </a:lnTo>
                <a:cubicBezTo>
                  <a:pt x="3709474" y="766929"/>
                  <a:pt x="3755207" y="765334"/>
                  <a:pt x="3801298" y="765118"/>
                </a:cubicBezTo>
                <a:cubicBezTo>
                  <a:pt x="3825607" y="764994"/>
                  <a:pt x="3838629" y="764240"/>
                  <a:pt x="3849108" y="758706"/>
                </a:cubicBezTo>
                <a:lnTo>
                  <a:pt x="3858639" y="750773"/>
                </a:lnTo>
                <a:close/>
                <a:moveTo>
                  <a:pt x="1876892" y="560831"/>
                </a:moveTo>
                <a:cubicBezTo>
                  <a:pt x="1882274" y="560831"/>
                  <a:pt x="1887657" y="560831"/>
                  <a:pt x="1898421" y="560831"/>
                </a:cubicBezTo>
                <a:cubicBezTo>
                  <a:pt x="1868820" y="611956"/>
                  <a:pt x="1831147" y="646935"/>
                  <a:pt x="1793475" y="681915"/>
                </a:cubicBezTo>
                <a:cubicBezTo>
                  <a:pt x="1330636" y="1093597"/>
                  <a:pt x="988888" y="1588690"/>
                  <a:pt x="776305" y="2172579"/>
                </a:cubicBezTo>
                <a:cubicBezTo>
                  <a:pt x="770924" y="2188723"/>
                  <a:pt x="757469" y="2210249"/>
                  <a:pt x="760159" y="2226393"/>
                </a:cubicBezTo>
                <a:cubicBezTo>
                  <a:pt x="768233" y="2398600"/>
                  <a:pt x="698268" y="2557354"/>
                  <a:pt x="674049" y="2724179"/>
                </a:cubicBezTo>
                <a:cubicBezTo>
                  <a:pt x="652522" y="2874859"/>
                  <a:pt x="622922" y="3022849"/>
                  <a:pt x="622922" y="3181602"/>
                </a:cubicBezTo>
                <a:cubicBezTo>
                  <a:pt x="665977" y="3152004"/>
                  <a:pt x="665977" y="3111643"/>
                  <a:pt x="668667" y="3073973"/>
                </a:cubicBezTo>
                <a:cubicBezTo>
                  <a:pt x="682124" y="2936746"/>
                  <a:pt x="698268" y="2799518"/>
                  <a:pt x="725177" y="2664982"/>
                </a:cubicBezTo>
                <a:cubicBezTo>
                  <a:pt x="835505" y="2102620"/>
                  <a:pt x="1077688" y="1602145"/>
                  <a:pt x="1438272" y="1155483"/>
                </a:cubicBezTo>
                <a:cubicBezTo>
                  <a:pt x="1489400" y="1090906"/>
                  <a:pt x="1562055" y="1047854"/>
                  <a:pt x="1629328" y="999420"/>
                </a:cubicBezTo>
                <a:cubicBezTo>
                  <a:pt x="1653547" y="983276"/>
                  <a:pt x="1675074" y="969822"/>
                  <a:pt x="1669692" y="929461"/>
                </a:cubicBezTo>
                <a:cubicBezTo>
                  <a:pt x="1667001" y="886410"/>
                  <a:pt x="1707365" y="867574"/>
                  <a:pt x="1739655" y="848740"/>
                </a:cubicBezTo>
                <a:cubicBezTo>
                  <a:pt x="1761183" y="837977"/>
                  <a:pt x="1788092" y="835286"/>
                  <a:pt x="1817693" y="837977"/>
                </a:cubicBezTo>
                <a:cubicBezTo>
                  <a:pt x="1782710" y="875647"/>
                  <a:pt x="1750420" y="916008"/>
                  <a:pt x="1715438" y="953679"/>
                </a:cubicBezTo>
                <a:cubicBezTo>
                  <a:pt x="1605109" y="1074761"/>
                  <a:pt x="1494782" y="1198535"/>
                  <a:pt x="1403290" y="1335761"/>
                </a:cubicBezTo>
                <a:cubicBezTo>
                  <a:pt x="1376382" y="1370741"/>
                  <a:pt x="1344091" y="1397649"/>
                  <a:pt x="1352163" y="1448772"/>
                </a:cubicBezTo>
                <a:cubicBezTo>
                  <a:pt x="1357545" y="1478370"/>
                  <a:pt x="1330636" y="1505278"/>
                  <a:pt x="1314489" y="1532185"/>
                </a:cubicBezTo>
                <a:cubicBezTo>
                  <a:pt x="1220307" y="1669413"/>
                  <a:pt x="1144962" y="1817402"/>
                  <a:pt x="1072307" y="1965393"/>
                </a:cubicBezTo>
                <a:cubicBezTo>
                  <a:pt x="1066925" y="1976156"/>
                  <a:pt x="1061543" y="1984227"/>
                  <a:pt x="1069616" y="1997681"/>
                </a:cubicBezTo>
                <a:cubicBezTo>
                  <a:pt x="1091144" y="2003063"/>
                  <a:pt x="1093835" y="1981536"/>
                  <a:pt x="1099217" y="1970774"/>
                </a:cubicBezTo>
                <a:cubicBezTo>
                  <a:pt x="1206853" y="1739372"/>
                  <a:pt x="1344091" y="1529495"/>
                  <a:pt x="1494782" y="1327690"/>
                </a:cubicBezTo>
                <a:cubicBezTo>
                  <a:pt x="1500164" y="1319618"/>
                  <a:pt x="1505545" y="1311545"/>
                  <a:pt x="1510927" y="1303472"/>
                </a:cubicBezTo>
                <a:cubicBezTo>
                  <a:pt x="1519001" y="1292711"/>
                  <a:pt x="1529764" y="1287329"/>
                  <a:pt x="1540528" y="1300782"/>
                </a:cubicBezTo>
                <a:cubicBezTo>
                  <a:pt x="1556672" y="1311545"/>
                  <a:pt x="1548600" y="1319618"/>
                  <a:pt x="1540528" y="1330381"/>
                </a:cubicBezTo>
                <a:cubicBezTo>
                  <a:pt x="1411363" y="1483752"/>
                  <a:pt x="1319872" y="1664031"/>
                  <a:pt x="1217616" y="1836238"/>
                </a:cubicBezTo>
                <a:cubicBezTo>
                  <a:pt x="1212235" y="1847000"/>
                  <a:pt x="1204162" y="1855072"/>
                  <a:pt x="1201472" y="1865836"/>
                </a:cubicBezTo>
                <a:cubicBezTo>
                  <a:pt x="1163799" y="2021897"/>
                  <a:pt x="1077688" y="2159125"/>
                  <a:pt x="1034634" y="2315188"/>
                </a:cubicBezTo>
                <a:cubicBezTo>
                  <a:pt x="945833" y="2646147"/>
                  <a:pt x="897396" y="2977107"/>
                  <a:pt x="886633" y="3316138"/>
                </a:cubicBezTo>
                <a:cubicBezTo>
                  <a:pt x="886633" y="3326902"/>
                  <a:pt x="886633" y="3334975"/>
                  <a:pt x="886633" y="3345737"/>
                </a:cubicBezTo>
                <a:cubicBezTo>
                  <a:pt x="916234" y="3332283"/>
                  <a:pt x="910852" y="3308066"/>
                  <a:pt x="910852" y="3286541"/>
                </a:cubicBezTo>
                <a:lnTo>
                  <a:pt x="912039" y="3267394"/>
                </a:lnTo>
                <a:lnTo>
                  <a:pt x="911945" y="3235898"/>
                </a:lnTo>
                <a:cubicBezTo>
                  <a:pt x="916573" y="3143655"/>
                  <a:pt x="911504" y="3053483"/>
                  <a:pt x="932891" y="2963742"/>
                </a:cubicBezTo>
                <a:cubicBezTo>
                  <a:pt x="934004" y="2959449"/>
                  <a:pt x="934041" y="2954878"/>
                  <a:pt x="935203" y="2950827"/>
                </a:cubicBezTo>
                <a:lnTo>
                  <a:pt x="936942" y="2948948"/>
                </a:lnTo>
                <a:lnTo>
                  <a:pt x="967110" y="2742550"/>
                </a:lnTo>
                <a:cubicBezTo>
                  <a:pt x="1067262" y="2215462"/>
                  <a:pt x="1298344" y="1738698"/>
                  <a:pt x="1653547" y="1308854"/>
                </a:cubicBezTo>
                <a:cubicBezTo>
                  <a:pt x="1782710" y="1152792"/>
                  <a:pt x="1933403" y="1015565"/>
                  <a:pt x="2092167" y="889101"/>
                </a:cubicBezTo>
                <a:cubicBezTo>
                  <a:pt x="2105621" y="878338"/>
                  <a:pt x="2119075" y="867574"/>
                  <a:pt x="2137913" y="856811"/>
                </a:cubicBezTo>
                <a:cubicBezTo>
                  <a:pt x="2148676" y="897172"/>
                  <a:pt x="2127149" y="916008"/>
                  <a:pt x="2108312" y="940224"/>
                </a:cubicBezTo>
                <a:cubicBezTo>
                  <a:pt x="2078713" y="972513"/>
                  <a:pt x="2043730" y="1004802"/>
                  <a:pt x="2046421" y="1055926"/>
                </a:cubicBezTo>
                <a:cubicBezTo>
                  <a:pt x="2046421" y="1072070"/>
                  <a:pt x="2030276" y="1082833"/>
                  <a:pt x="2016821" y="1093597"/>
                </a:cubicBezTo>
                <a:cubicBezTo>
                  <a:pt x="1928020" y="1171627"/>
                  <a:pt x="1849984" y="1257731"/>
                  <a:pt x="1774638" y="1349215"/>
                </a:cubicBezTo>
                <a:cubicBezTo>
                  <a:pt x="1766565" y="1359979"/>
                  <a:pt x="1734274" y="1373431"/>
                  <a:pt x="1777328" y="1386886"/>
                </a:cubicBezTo>
                <a:cubicBezTo>
                  <a:pt x="1801547" y="1394958"/>
                  <a:pt x="1774638" y="1413793"/>
                  <a:pt x="1766565" y="1421865"/>
                </a:cubicBezTo>
                <a:cubicBezTo>
                  <a:pt x="1597036" y="1626361"/>
                  <a:pt x="1459800" y="1849691"/>
                  <a:pt x="1352163" y="2091856"/>
                </a:cubicBezTo>
                <a:cubicBezTo>
                  <a:pt x="1212235" y="2409363"/>
                  <a:pt x="1136890" y="2743013"/>
                  <a:pt x="1101907" y="3087427"/>
                </a:cubicBezTo>
                <a:cubicBezTo>
                  <a:pt x="1101907" y="3088772"/>
                  <a:pt x="1101907" y="3090790"/>
                  <a:pt x="1102580" y="3094154"/>
                </a:cubicBezTo>
                <a:lnTo>
                  <a:pt x="1104570" y="3100406"/>
                </a:lnTo>
                <a:lnTo>
                  <a:pt x="1113843" y="2999101"/>
                </a:lnTo>
                <a:cubicBezTo>
                  <a:pt x="1138226" y="2826084"/>
                  <a:pt x="1179369" y="2655571"/>
                  <a:pt x="1236682" y="2487179"/>
                </a:cubicBezTo>
                <a:cubicBezTo>
                  <a:pt x="1239318" y="2480533"/>
                  <a:pt x="1242783" y="2477764"/>
                  <a:pt x="1249712" y="2472227"/>
                </a:cubicBezTo>
                <a:cubicBezTo>
                  <a:pt x="1202697" y="2647291"/>
                  <a:pt x="1165753" y="2822770"/>
                  <a:pt x="1144152" y="2998820"/>
                </a:cubicBezTo>
                <a:lnTo>
                  <a:pt x="1143877" y="3001792"/>
                </a:lnTo>
                <a:lnTo>
                  <a:pt x="1144625" y="2999599"/>
                </a:lnTo>
                <a:cubicBezTo>
                  <a:pt x="1169853" y="2888481"/>
                  <a:pt x="1167835" y="2773956"/>
                  <a:pt x="1220307" y="2673054"/>
                </a:cubicBezTo>
                <a:cubicBezTo>
                  <a:pt x="1196089" y="2780684"/>
                  <a:pt x="1228380" y="2896384"/>
                  <a:pt x="1182634" y="3001323"/>
                </a:cubicBezTo>
                <a:lnTo>
                  <a:pt x="1177230" y="3017964"/>
                </a:lnTo>
                <a:lnTo>
                  <a:pt x="1193129" y="3023733"/>
                </a:lnTo>
                <a:cubicBezTo>
                  <a:pt x="1206837" y="3030944"/>
                  <a:pt x="1205461" y="3015014"/>
                  <a:pt x="1207684" y="3006427"/>
                </a:cubicBezTo>
                <a:cubicBezTo>
                  <a:pt x="1226207" y="2846324"/>
                  <a:pt x="1272430" y="2692470"/>
                  <a:pt x="1314361" y="2537505"/>
                </a:cubicBezTo>
                <a:cubicBezTo>
                  <a:pt x="1316859" y="2527844"/>
                  <a:pt x="1315153" y="2514521"/>
                  <a:pt x="1324018" y="2510631"/>
                </a:cubicBezTo>
                <a:cubicBezTo>
                  <a:pt x="1326973" y="2509334"/>
                  <a:pt x="1331103" y="2509086"/>
                  <a:pt x="1336954" y="2510369"/>
                </a:cubicBezTo>
                <a:lnTo>
                  <a:pt x="1346335" y="2515455"/>
                </a:lnTo>
                <a:lnTo>
                  <a:pt x="1341475" y="2526822"/>
                </a:lnTo>
                <a:cubicBezTo>
                  <a:pt x="1282033" y="2684987"/>
                  <a:pt x="1236529" y="2849070"/>
                  <a:pt x="1206129" y="3017246"/>
                </a:cubicBezTo>
                <a:lnTo>
                  <a:pt x="1190428" y="3134619"/>
                </a:lnTo>
                <a:lnTo>
                  <a:pt x="1188018" y="3178911"/>
                </a:lnTo>
                <a:cubicBezTo>
                  <a:pt x="1171870" y="3302686"/>
                  <a:pt x="1175907" y="3425785"/>
                  <a:pt x="1189026" y="3548551"/>
                </a:cubicBezTo>
                <a:lnTo>
                  <a:pt x="1205813" y="3671558"/>
                </a:lnTo>
                <a:lnTo>
                  <a:pt x="1210772" y="3356381"/>
                </a:lnTo>
                <a:cubicBezTo>
                  <a:pt x="1228015" y="3130993"/>
                  <a:pt x="1272258" y="2909658"/>
                  <a:pt x="1341421" y="2696971"/>
                </a:cubicBezTo>
                <a:lnTo>
                  <a:pt x="1356818" y="2655264"/>
                </a:lnTo>
                <a:lnTo>
                  <a:pt x="1364300" y="2638368"/>
                </a:lnTo>
                <a:lnTo>
                  <a:pt x="1403642" y="2528432"/>
                </a:lnTo>
                <a:lnTo>
                  <a:pt x="1418816" y="2487337"/>
                </a:lnTo>
                <a:cubicBezTo>
                  <a:pt x="1532878" y="2212122"/>
                  <a:pt x="1690015" y="1955007"/>
                  <a:pt x="1885305" y="1726888"/>
                </a:cubicBezTo>
                <a:lnTo>
                  <a:pt x="1887481" y="1724542"/>
                </a:lnTo>
                <a:lnTo>
                  <a:pt x="1876956" y="1747601"/>
                </a:lnTo>
                <a:cubicBezTo>
                  <a:pt x="1867112" y="1764406"/>
                  <a:pt x="1856228" y="1779912"/>
                  <a:pt x="1845344" y="1795419"/>
                </a:cubicBezTo>
                <a:cubicBezTo>
                  <a:pt x="1575145" y="2163411"/>
                  <a:pt x="1405066" y="2572876"/>
                  <a:pt x="1341756" y="3026454"/>
                </a:cubicBezTo>
                <a:cubicBezTo>
                  <a:pt x="1340364" y="3038918"/>
                  <a:pt x="1333981" y="3056505"/>
                  <a:pt x="1338404" y="3067727"/>
                </a:cubicBezTo>
                <a:cubicBezTo>
                  <a:pt x="1370741" y="3190602"/>
                  <a:pt x="1344761" y="3315799"/>
                  <a:pt x="1352994" y="3439768"/>
                </a:cubicBezTo>
                <a:cubicBezTo>
                  <a:pt x="1360680" y="3551687"/>
                  <a:pt x="1362135" y="3662909"/>
                  <a:pt x="1386580" y="3777331"/>
                </a:cubicBezTo>
                <a:cubicBezTo>
                  <a:pt x="1413055" y="3749368"/>
                  <a:pt x="1406839" y="3720278"/>
                  <a:pt x="1402977" y="3692713"/>
                </a:cubicBezTo>
                <a:cubicBezTo>
                  <a:pt x="1391546" y="3591734"/>
                  <a:pt x="1382050" y="3490340"/>
                  <a:pt x="1380729" y="3389229"/>
                </a:cubicBezTo>
                <a:cubicBezTo>
                  <a:pt x="1373652" y="2966913"/>
                  <a:pt x="1471141" y="2568900"/>
                  <a:pt x="1662254" y="2191442"/>
                </a:cubicBezTo>
                <a:cubicBezTo>
                  <a:pt x="1689160" y="2137024"/>
                  <a:pt x="1734897" y="2094806"/>
                  <a:pt x="1775928" y="2049539"/>
                </a:cubicBezTo>
                <a:cubicBezTo>
                  <a:pt x="1790896" y="2034174"/>
                  <a:pt x="1804341" y="2021163"/>
                  <a:pt x="1794248" y="1992901"/>
                </a:cubicBezTo>
                <a:cubicBezTo>
                  <a:pt x="1785677" y="1962285"/>
                  <a:pt x="1811870" y="1942493"/>
                  <a:pt x="1832245" y="1923946"/>
                </a:cubicBezTo>
                <a:cubicBezTo>
                  <a:pt x="1846103" y="1912874"/>
                  <a:pt x="1865082" y="1906791"/>
                  <a:pt x="1886833" y="1904172"/>
                </a:cubicBezTo>
                <a:cubicBezTo>
                  <a:pt x="1867419" y="1936710"/>
                  <a:pt x="1850361" y="1970773"/>
                  <a:pt x="1830946" y="2003310"/>
                </a:cubicBezTo>
                <a:cubicBezTo>
                  <a:pt x="1770073" y="2107570"/>
                  <a:pt x="1709613" y="2213770"/>
                  <a:pt x="1664800" y="2326766"/>
                </a:cubicBezTo>
                <a:cubicBezTo>
                  <a:pt x="1650792" y="2356122"/>
                  <a:pt x="1631662" y="2380487"/>
                  <a:pt x="1645352" y="2416092"/>
                </a:cubicBezTo>
                <a:cubicBezTo>
                  <a:pt x="1653790" y="2436595"/>
                  <a:pt x="1638537" y="2460134"/>
                  <a:pt x="1631044" y="2482013"/>
                </a:cubicBezTo>
                <a:cubicBezTo>
                  <a:pt x="1584292" y="2595423"/>
                  <a:pt x="1552775" y="2713690"/>
                  <a:pt x="1523196" y="2831542"/>
                </a:cubicBezTo>
                <a:cubicBezTo>
                  <a:pt x="1520975" y="2840128"/>
                  <a:pt x="1518340" y="2846776"/>
                  <a:pt x="1526229" y="2855229"/>
                </a:cubicBezTo>
                <a:lnTo>
                  <a:pt x="1534614" y="2850072"/>
                </a:lnTo>
                <a:lnTo>
                  <a:pt x="1531478" y="2868343"/>
                </a:lnTo>
                <a:lnTo>
                  <a:pt x="1530525" y="2870743"/>
                </a:lnTo>
                <a:lnTo>
                  <a:pt x="1530643" y="2867299"/>
                </a:lnTo>
                <a:cubicBezTo>
                  <a:pt x="1530730" y="2864839"/>
                  <a:pt x="1530230" y="2862503"/>
                  <a:pt x="1527396" y="2860667"/>
                </a:cubicBezTo>
                <a:cubicBezTo>
                  <a:pt x="1527396" y="2860667"/>
                  <a:pt x="1523722" y="2866335"/>
                  <a:pt x="1520049" y="2872005"/>
                </a:cubicBezTo>
                <a:cubicBezTo>
                  <a:pt x="1521048" y="2876676"/>
                  <a:pt x="1521048" y="2876676"/>
                  <a:pt x="1521048" y="2876676"/>
                </a:cubicBezTo>
                <a:cubicBezTo>
                  <a:pt x="1511706" y="2878672"/>
                  <a:pt x="1513382" y="2863661"/>
                  <a:pt x="1521727" y="2856995"/>
                </a:cubicBezTo>
                <a:cubicBezTo>
                  <a:pt x="1513382" y="2863661"/>
                  <a:pt x="1517734" y="2838310"/>
                  <a:pt x="1511385" y="2854318"/>
                </a:cubicBezTo>
                <a:cubicBezTo>
                  <a:pt x="1522725" y="2861665"/>
                  <a:pt x="1494699" y="2867653"/>
                  <a:pt x="1498690" y="2886335"/>
                </a:cubicBezTo>
                <a:cubicBezTo>
                  <a:pt x="1499687" y="2891007"/>
                  <a:pt x="1499687" y="2891007"/>
                  <a:pt x="1499687" y="2891007"/>
                </a:cubicBezTo>
                <a:cubicBezTo>
                  <a:pt x="1499687" y="2891007"/>
                  <a:pt x="1499687" y="2891007"/>
                  <a:pt x="1495017" y="2892005"/>
                </a:cubicBezTo>
                <a:cubicBezTo>
                  <a:pt x="1495017" y="2892005"/>
                  <a:pt x="1496015" y="2896677"/>
                  <a:pt x="1496015" y="2896677"/>
                </a:cubicBezTo>
                <a:cubicBezTo>
                  <a:pt x="1497013" y="2901348"/>
                  <a:pt x="1497013" y="2901348"/>
                  <a:pt x="1497013" y="2901348"/>
                </a:cubicBezTo>
                <a:cubicBezTo>
                  <a:pt x="1496015" y="2896677"/>
                  <a:pt x="1500687" y="2895679"/>
                  <a:pt x="1500687" y="2895679"/>
                </a:cubicBezTo>
                <a:cubicBezTo>
                  <a:pt x="1501683" y="2900350"/>
                  <a:pt x="1499008" y="2910689"/>
                  <a:pt x="1500005" y="2915361"/>
                </a:cubicBezTo>
                <a:cubicBezTo>
                  <a:pt x="1502682" y="2905019"/>
                  <a:pt x="1504677" y="2914363"/>
                  <a:pt x="1504677" y="2914363"/>
                </a:cubicBezTo>
                <a:cubicBezTo>
                  <a:pt x="1508351" y="2908695"/>
                  <a:pt x="1511025" y="2898353"/>
                  <a:pt x="1514701" y="2892685"/>
                </a:cubicBezTo>
                <a:cubicBezTo>
                  <a:pt x="1514701" y="2892685"/>
                  <a:pt x="1514701" y="2892685"/>
                  <a:pt x="1519370" y="2891687"/>
                </a:cubicBezTo>
                <a:cubicBezTo>
                  <a:pt x="1515697" y="2897355"/>
                  <a:pt x="1515697" y="2897355"/>
                  <a:pt x="1515697" y="2897355"/>
                </a:cubicBezTo>
                <a:cubicBezTo>
                  <a:pt x="1516695" y="2902027"/>
                  <a:pt x="1517692" y="2906697"/>
                  <a:pt x="1522365" y="2905700"/>
                </a:cubicBezTo>
                <a:cubicBezTo>
                  <a:pt x="1522365" y="2905700"/>
                  <a:pt x="1526037" y="2900031"/>
                  <a:pt x="1525039" y="2895360"/>
                </a:cubicBezTo>
                <a:cubicBezTo>
                  <a:pt x="1525039" y="2895360"/>
                  <a:pt x="1525039" y="2895360"/>
                  <a:pt x="1524041" y="2890688"/>
                </a:cubicBezTo>
                <a:cubicBezTo>
                  <a:pt x="1527714" y="2885020"/>
                  <a:pt x="1527714" y="2885020"/>
                  <a:pt x="1527714" y="2885020"/>
                </a:cubicBezTo>
                <a:cubicBezTo>
                  <a:pt x="1530708" y="2899032"/>
                  <a:pt x="1523363" y="2910371"/>
                  <a:pt x="1518010" y="2931050"/>
                </a:cubicBezTo>
                <a:cubicBezTo>
                  <a:pt x="1530708" y="2899032"/>
                  <a:pt x="1522684" y="2930053"/>
                  <a:pt x="1529349" y="2938396"/>
                </a:cubicBezTo>
                <a:cubicBezTo>
                  <a:pt x="1529349" y="2938396"/>
                  <a:pt x="1530348" y="2943068"/>
                  <a:pt x="1530348" y="2943068"/>
                </a:cubicBezTo>
                <a:cubicBezTo>
                  <a:pt x="1530348" y="2943068"/>
                  <a:pt x="1529349" y="2938396"/>
                  <a:pt x="1524678" y="2939395"/>
                </a:cubicBezTo>
                <a:cubicBezTo>
                  <a:pt x="1524678" y="2939395"/>
                  <a:pt x="1524678" y="2939395"/>
                  <a:pt x="1523680" y="2934724"/>
                </a:cubicBezTo>
                <a:cubicBezTo>
                  <a:pt x="1523680" y="2934724"/>
                  <a:pt x="1523680" y="2934724"/>
                  <a:pt x="1519008" y="2935721"/>
                </a:cubicBezTo>
                <a:cubicBezTo>
                  <a:pt x="1520006" y="2940394"/>
                  <a:pt x="1516334" y="2946061"/>
                  <a:pt x="1516334" y="2946061"/>
                </a:cubicBezTo>
                <a:cubicBezTo>
                  <a:pt x="1516334" y="2946061"/>
                  <a:pt x="1517333" y="2950732"/>
                  <a:pt x="1517333" y="2950732"/>
                </a:cubicBezTo>
                <a:cubicBezTo>
                  <a:pt x="1513659" y="2956402"/>
                  <a:pt x="1513659" y="2956402"/>
                  <a:pt x="1509986" y="2962070"/>
                </a:cubicBezTo>
                <a:cubicBezTo>
                  <a:pt x="1508989" y="2957400"/>
                  <a:pt x="1508989" y="2957400"/>
                  <a:pt x="1507991" y="2952728"/>
                </a:cubicBezTo>
                <a:cubicBezTo>
                  <a:pt x="1506991" y="2948057"/>
                  <a:pt x="1506991" y="2948057"/>
                  <a:pt x="1503320" y="2953726"/>
                </a:cubicBezTo>
                <a:cubicBezTo>
                  <a:pt x="1503320" y="2953726"/>
                  <a:pt x="1499646" y="2959396"/>
                  <a:pt x="1500643" y="2964066"/>
                </a:cubicBezTo>
                <a:cubicBezTo>
                  <a:pt x="1501642" y="2968737"/>
                  <a:pt x="1501642" y="2968737"/>
                  <a:pt x="1502641" y="2973409"/>
                </a:cubicBezTo>
                <a:cubicBezTo>
                  <a:pt x="1504636" y="2982750"/>
                  <a:pt x="1511303" y="2991095"/>
                  <a:pt x="1514976" y="2985426"/>
                </a:cubicBezTo>
                <a:cubicBezTo>
                  <a:pt x="1515974" y="2990096"/>
                  <a:pt x="1516970" y="2994767"/>
                  <a:pt x="1513299" y="3000436"/>
                </a:cubicBezTo>
                <a:cubicBezTo>
                  <a:pt x="1508946" y="3025786"/>
                  <a:pt x="1499923" y="3052136"/>
                  <a:pt x="1495570" y="3077486"/>
                </a:cubicBezTo>
                <a:cubicBezTo>
                  <a:pt x="1495570" y="3077486"/>
                  <a:pt x="1489902" y="3073814"/>
                  <a:pt x="1489902" y="3073814"/>
                </a:cubicBezTo>
                <a:cubicBezTo>
                  <a:pt x="1489902" y="3073814"/>
                  <a:pt x="1490900" y="3078485"/>
                  <a:pt x="1490900" y="3078485"/>
                </a:cubicBezTo>
                <a:cubicBezTo>
                  <a:pt x="1490900" y="3078485"/>
                  <a:pt x="1486228" y="3079482"/>
                  <a:pt x="1486228" y="3079482"/>
                </a:cubicBezTo>
                <a:cubicBezTo>
                  <a:pt x="1490582" y="3054132"/>
                  <a:pt x="1485230" y="3074812"/>
                  <a:pt x="1480559" y="3075811"/>
                </a:cubicBezTo>
                <a:cubicBezTo>
                  <a:pt x="1482237" y="3060798"/>
                  <a:pt x="1488585" y="3044791"/>
                  <a:pt x="1485591" y="3030777"/>
                </a:cubicBezTo>
                <a:cubicBezTo>
                  <a:pt x="1491260" y="3034450"/>
                  <a:pt x="1491260" y="3034450"/>
                  <a:pt x="1491260" y="3034450"/>
                </a:cubicBezTo>
                <a:cubicBezTo>
                  <a:pt x="1493935" y="3024111"/>
                  <a:pt x="1496610" y="3013770"/>
                  <a:pt x="1496610" y="3013770"/>
                </a:cubicBezTo>
                <a:cubicBezTo>
                  <a:pt x="1493935" y="3024111"/>
                  <a:pt x="1489264" y="3025108"/>
                  <a:pt x="1489264" y="3025108"/>
                </a:cubicBezTo>
                <a:cubicBezTo>
                  <a:pt x="1491939" y="3014767"/>
                  <a:pt x="1486270" y="3011096"/>
                  <a:pt x="1489944" y="3005426"/>
                </a:cubicBezTo>
                <a:cubicBezTo>
                  <a:pt x="1488945" y="3000755"/>
                  <a:pt x="1488945" y="3000755"/>
                  <a:pt x="1488945" y="3000755"/>
                </a:cubicBezTo>
                <a:cubicBezTo>
                  <a:pt x="1488945" y="3000755"/>
                  <a:pt x="1493617" y="2999757"/>
                  <a:pt x="1492619" y="2995087"/>
                </a:cubicBezTo>
                <a:cubicBezTo>
                  <a:pt x="1492619" y="2995087"/>
                  <a:pt x="1492619" y="2995087"/>
                  <a:pt x="1491621" y="2990414"/>
                </a:cubicBezTo>
                <a:cubicBezTo>
                  <a:pt x="1491621" y="2990414"/>
                  <a:pt x="1490623" y="2985745"/>
                  <a:pt x="1490623" y="2985745"/>
                </a:cubicBezTo>
                <a:cubicBezTo>
                  <a:pt x="1482279" y="2992412"/>
                  <a:pt x="1482279" y="2992412"/>
                  <a:pt x="1482279" y="2992412"/>
                </a:cubicBezTo>
                <a:cubicBezTo>
                  <a:pt x="1482279" y="2992412"/>
                  <a:pt x="1478607" y="2998081"/>
                  <a:pt x="1479604" y="3002751"/>
                </a:cubicBezTo>
                <a:lnTo>
                  <a:pt x="1480602" y="3007422"/>
                </a:lnTo>
                <a:cubicBezTo>
                  <a:pt x="1485271" y="3006424"/>
                  <a:pt x="1485271" y="3006424"/>
                  <a:pt x="1485271" y="3006424"/>
                </a:cubicBezTo>
                <a:cubicBezTo>
                  <a:pt x="1483597" y="3021434"/>
                  <a:pt x="1476568" y="3057127"/>
                  <a:pt x="1475889" y="3076809"/>
                </a:cubicBezTo>
                <a:cubicBezTo>
                  <a:pt x="1472215" y="3082477"/>
                  <a:pt x="1472215" y="3082477"/>
                  <a:pt x="1472215" y="3082477"/>
                </a:cubicBezTo>
                <a:cubicBezTo>
                  <a:pt x="1468541" y="3088146"/>
                  <a:pt x="1468541" y="3088146"/>
                  <a:pt x="1469540" y="3092817"/>
                </a:cubicBezTo>
                <a:cubicBezTo>
                  <a:pt x="1474211" y="3091818"/>
                  <a:pt x="1474211" y="3091818"/>
                  <a:pt x="1474211" y="3091818"/>
                </a:cubicBezTo>
                <a:cubicBezTo>
                  <a:pt x="1470538" y="3097487"/>
                  <a:pt x="1468860" y="3112498"/>
                  <a:pt x="1466185" y="3122840"/>
                </a:cubicBezTo>
                <a:cubicBezTo>
                  <a:pt x="1461514" y="3123837"/>
                  <a:pt x="1462511" y="3128508"/>
                  <a:pt x="1463510" y="3133178"/>
                </a:cubicBezTo>
                <a:cubicBezTo>
                  <a:pt x="1464509" y="3137850"/>
                  <a:pt x="1464509" y="3137850"/>
                  <a:pt x="1464509" y="3137850"/>
                </a:cubicBezTo>
                <a:cubicBezTo>
                  <a:pt x="1464509" y="3137850"/>
                  <a:pt x="1464509" y="3137850"/>
                  <a:pt x="1469179" y="3136851"/>
                </a:cubicBezTo>
                <a:cubicBezTo>
                  <a:pt x="1460474" y="3187554"/>
                  <a:pt x="1451452" y="3213902"/>
                  <a:pt x="1458437" y="3246598"/>
                </a:cubicBezTo>
                <a:cubicBezTo>
                  <a:pt x="1458437" y="3246598"/>
                  <a:pt x="1453765" y="3247597"/>
                  <a:pt x="1454763" y="3252269"/>
                </a:cubicBezTo>
                <a:cubicBezTo>
                  <a:pt x="1455762" y="3256940"/>
                  <a:pt x="1455762" y="3256940"/>
                  <a:pt x="1455762" y="3256940"/>
                </a:cubicBezTo>
                <a:cubicBezTo>
                  <a:pt x="1456759" y="3261610"/>
                  <a:pt x="1456759" y="3261610"/>
                  <a:pt x="1456759" y="3261610"/>
                </a:cubicBezTo>
                <a:cubicBezTo>
                  <a:pt x="1452090" y="3262609"/>
                  <a:pt x="1450411" y="3277620"/>
                  <a:pt x="1452407" y="3286961"/>
                </a:cubicBezTo>
                <a:cubicBezTo>
                  <a:pt x="1452407" y="3286961"/>
                  <a:pt x="1453405" y="3291634"/>
                  <a:pt x="1448735" y="3292631"/>
                </a:cubicBezTo>
                <a:cubicBezTo>
                  <a:pt x="1449733" y="3297301"/>
                  <a:pt x="1449733" y="3297301"/>
                  <a:pt x="1450729" y="3301973"/>
                </a:cubicBezTo>
                <a:cubicBezTo>
                  <a:pt x="1450729" y="3301973"/>
                  <a:pt x="1451728" y="3306644"/>
                  <a:pt x="1451728" y="3306644"/>
                </a:cubicBezTo>
                <a:cubicBezTo>
                  <a:pt x="1451728" y="3306644"/>
                  <a:pt x="1451728" y="3306644"/>
                  <a:pt x="1448054" y="3312312"/>
                </a:cubicBezTo>
                <a:cubicBezTo>
                  <a:pt x="1448054" y="3312312"/>
                  <a:pt x="1449053" y="3316984"/>
                  <a:pt x="1449053" y="3316984"/>
                </a:cubicBezTo>
                <a:cubicBezTo>
                  <a:pt x="1455719" y="3325326"/>
                  <a:pt x="1440030" y="3343331"/>
                  <a:pt x="1455040" y="3345009"/>
                </a:cubicBezTo>
                <a:cubicBezTo>
                  <a:pt x="1450369" y="3346008"/>
                  <a:pt x="1450369" y="3346008"/>
                  <a:pt x="1451367" y="3350678"/>
                </a:cubicBezTo>
                <a:cubicBezTo>
                  <a:pt x="1451367" y="3350678"/>
                  <a:pt x="1452366" y="3355351"/>
                  <a:pt x="1452366" y="3355351"/>
                </a:cubicBezTo>
                <a:cubicBezTo>
                  <a:pt x="1453364" y="3360020"/>
                  <a:pt x="1449691" y="3365689"/>
                  <a:pt x="1450688" y="3370360"/>
                </a:cubicBezTo>
                <a:cubicBezTo>
                  <a:pt x="1450688" y="3370360"/>
                  <a:pt x="1450688" y="3370360"/>
                  <a:pt x="1451686" y="3375030"/>
                </a:cubicBezTo>
                <a:cubicBezTo>
                  <a:pt x="1450009" y="3390042"/>
                  <a:pt x="1447334" y="3400383"/>
                  <a:pt x="1445656" y="3415393"/>
                </a:cubicBezTo>
                <a:cubicBezTo>
                  <a:pt x="1446653" y="3420063"/>
                  <a:pt x="1446653" y="3420063"/>
                  <a:pt x="1446653" y="3420063"/>
                </a:cubicBezTo>
                <a:cubicBezTo>
                  <a:pt x="1446653" y="3420063"/>
                  <a:pt x="1446653" y="3420063"/>
                  <a:pt x="1441983" y="3421062"/>
                </a:cubicBezTo>
                <a:cubicBezTo>
                  <a:pt x="1442981" y="3425733"/>
                  <a:pt x="1442981" y="3425733"/>
                  <a:pt x="1442981" y="3425733"/>
                </a:cubicBezTo>
                <a:cubicBezTo>
                  <a:pt x="1443979" y="3430404"/>
                  <a:pt x="1443979" y="3430404"/>
                  <a:pt x="1443979" y="3430404"/>
                </a:cubicBezTo>
                <a:cubicBezTo>
                  <a:pt x="1443979" y="3430404"/>
                  <a:pt x="1448650" y="3429407"/>
                  <a:pt x="1448650" y="3429407"/>
                </a:cubicBezTo>
                <a:cubicBezTo>
                  <a:pt x="1444977" y="3435075"/>
                  <a:pt x="1445976" y="3439745"/>
                  <a:pt x="1446973" y="3444417"/>
                </a:cubicBezTo>
                <a:cubicBezTo>
                  <a:pt x="1446973" y="3444417"/>
                  <a:pt x="1445976" y="3439745"/>
                  <a:pt x="1445976" y="3439745"/>
                </a:cubicBezTo>
                <a:cubicBezTo>
                  <a:pt x="1444296" y="3454757"/>
                  <a:pt x="1444296" y="3454757"/>
                  <a:pt x="1445295" y="3459428"/>
                </a:cubicBezTo>
                <a:cubicBezTo>
                  <a:pt x="1446294" y="3464099"/>
                  <a:pt x="1447291" y="3468769"/>
                  <a:pt x="1448290" y="3473441"/>
                </a:cubicBezTo>
                <a:cubicBezTo>
                  <a:pt x="1448290" y="3473441"/>
                  <a:pt x="1444616" y="3479111"/>
                  <a:pt x="1444616" y="3479111"/>
                </a:cubicBezTo>
                <a:cubicBezTo>
                  <a:pt x="1445615" y="3483781"/>
                  <a:pt x="1445615" y="3483781"/>
                  <a:pt x="1445615" y="3483781"/>
                </a:cubicBezTo>
                <a:cubicBezTo>
                  <a:pt x="1445615" y="3483781"/>
                  <a:pt x="1440943" y="3484778"/>
                  <a:pt x="1441943" y="3489449"/>
                </a:cubicBezTo>
                <a:cubicBezTo>
                  <a:pt x="1441943" y="3489449"/>
                  <a:pt x="1442939" y="3494121"/>
                  <a:pt x="1442939" y="3494121"/>
                </a:cubicBezTo>
                <a:cubicBezTo>
                  <a:pt x="1447611" y="3493123"/>
                  <a:pt x="1447611" y="3493123"/>
                  <a:pt x="1447611" y="3493123"/>
                </a:cubicBezTo>
                <a:cubicBezTo>
                  <a:pt x="1450603" y="3507136"/>
                  <a:pt x="1448928" y="3522147"/>
                  <a:pt x="1456592" y="3535162"/>
                </a:cubicBezTo>
                <a:cubicBezTo>
                  <a:pt x="1455594" y="3530490"/>
                  <a:pt x="1455594" y="3530490"/>
                  <a:pt x="1450922" y="3531488"/>
                </a:cubicBezTo>
                <a:cubicBezTo>
                  <a:pt x="1449926" y="3526818"/>
                  <a:pt x="1449926" y="3526818"/>
                  <a:pt x="1446252" y="3532487"/>
                </a:cubicBezTo>
                <a:cubicBezTo>
                  <a:pt x="1447250" y="3537157"/>
                  <a:pt x="1448249" y="3541828"/>
                  <a:pt x="1448249" y="3541828"/>
                </a:cubicBezTo>
                <a:cubicBezTo>
                  <a:pt x="1449247" y="3546500"/>
                  <a:pt x="1449247" y="3546500"/>
                  <a:pt x="1449247" y="3546500"/>
                </a:cubicBezTo>
                <a:cubicBezTo>
                  <a:pt x="1442897" y="3562510"/>
                  <a:pt x="1459904" y="3573529"/>
                  <a:pt x="1449883" y="3595205"/>
                </a:cubicBezTo>
                <a:cubicBezTo>
                  <a:pt x="1454554" y="3594207"/>
                  <a:pt x="1454554" y="3594207"/>
                  <a:pt x="1454554" y="3594207"/>
                </a:cubicBezTo>
                <a:cubicBezTo>
                  <a:pt x="1449883" y="3595205"/>
                  <a:pt x="1449883" y="3595205"/>
                  <a:pt x="1450880" y="3599876"/>
                </a:cubicBezTo>
                <a:cubicBezTo>
                  <a:pt x="1451878" y="3604549"/>
                  <a:pt x="1451878" y="3604549"/>
                  <a:pt x="1451878" y="3604549"/>
                </a:cubicBezTo>
                <a:cubicBezTo>
                  <a:pt x="1454873" y="3618561"/>
                  <a:pt x="1457866" y="3632574"/>
                  <a:pt x="1457866" y="3632574"/>
                </a:cubicBezTo>
                <a:cubicBezTo>
                  <a:pt x="1456608" y="3643833"/>
                  <a:pt x="1458742" y="3632388"/>
                  <a:pt x="1461993" y="3635813"/>
                </a:cubicBezTo>
                <a:lnTo>
                  <a:pt x="1465432" y="3645315"/>
                </a:lnTo>
                <a:lnTo>
                  <a:pt x="1464828" y="3645610"/>
                </a:lnTo>
                <a:lnTo>
                  <a:pt x="1458859" y="3645794"/>
                </a:lnTo>
                <a:cubicBezTo>
                  <a:pt x="1457357" y="3647335"/>
                  <a:pt x="1456688" y="3649919"/>
                  <a:pt x="1457188" y="3652257"/>
                </a:cubicBezTo>
                <a:cubicBezTo>
                  <a:pt x="1460022" y="3654092"/>
                  <a:pt x="1462528" y="3648673"/>
                  <a:pt x="1464365" y="3645838"/>
                </a:cubicBezTo>
                <a:lnTo>
                  <a:pt x="1464828" y="3645610"/>
                </a:lnTo>
                <a:lnTo>
                  <a:pt x="1465530" y="3645589"/>
                </a:lnTo>
                <a:lnTo>
                  <a:pt x="1465432" y="3645315"/>
                </a:lnTo>
                <a:lnTo>
                  <a:pt x="1466575" y="3644755"/>
                </a:lnTo>
                <a:cubicBezTo>
                  <a:pt x="1467116" y="3645862"/>
                  <a:pt x="1467447" y="3648843"/>
                  <a:pt x="1467526" y="3654930"/>
                </a:cubicBezTo>
                <a:cubicBezTo>
                  <a:pt x="1462856" y="3655929"/>
                  <a:pt x="1462856" y="3655929"/>
                  <a:pt x="1463852" y="3660600"/>
                </a:cubicBezTo>
                <a:cubicBezTo>
                  <a:pt x="1463852" y="3660600"/>
                  <a:pt x="1464851" y="3665270"/>
                  <a:pt x="1464851" y="3665270"/>
                </a:cubicBezTo>
                <a:cubicBezTo>
                  <a:pt x="1461179" y="3670939"/>
                  <a:pt x="1461179" y="3670939"/>
                  <a:pt x="1461179" y="3670939"/>
                </a:cubicBezTo>
                <a:cubicBezTo>
                  <a:pt x="1462178" y="3675610"/>
                  <a:pt x="1462178" y="3675610"/>
                  <a:pt x="1462178" y="3675610"/>
                </a:cubicBezTo>
                <a:cubicBezTo>
                  <a:pt x="1462178" y="3675610"/>
                  <a:pt x="1463175" y="3680282"/>
                  <a:pt x="1464173" y="3684953"/>
                </a:cubicBezTo>
                <a:cubicBezTo>
                  <a:pt x="1464173" y="3684953"/>
                  <a:pt x="1465171" y="3689624"/>
                  <a:pt x="1466168" y="3694296"/>
                </a:cubicBezTo>
                <a:cubicBezTo>
                  <a:pt x="1461498" y="3695293"/>
                  <a:pt x="1462496" y="3699964"/>
                  <a:pt x="1463494" y="3704634"/>
                </a:cubicBezTo>
                <a:cubicBezTo>
                  <a:pt x="1459821" y="3710304"/>
                  <a:pt x="1459821" y="3710304"/>
                  <a:pt x="1460818" y="3714976"/>
                </a:cubicBezTo>
                <a:cubicBezTo>
                  <a:pt x="1460818" y="3714976"/>
                  <a:pt x="1461815" y="3719645"/>
                  <a:pt x="1461815" y="3719645"/>
                </a:cubicBezTo>
                <a:cubicBezTo>
                  <a:pt x="1461815" y="3719645"/>
                  <a:pt x="1462814" y="3724317"/>
                  <a:pt x="1462814" y="3724317"/>
                </a:cubicBezTo>
                <a:cubicBezTo>
                  <a:pt x="1458143" y="3725314"/>
                  <a:pt x="1458143" y="3725314"/>
                  <a:pt x="1458143" y="3725314"/>
                </a:cubicBezTo>
                <a:cubicBezTo>
                  <a:pt x="1458143" y="3725314"/>
                  <a:pt x="1458143" y="3725314"/>
                  <a:pt x="1454470" y="3730983"/>
                </a:cubicBezTo>
                <a:cubicBezTo>
                  <a:pt x="1455467" y="3735654"/>
                  <a:pt x="1455467" y="3735654"/>
                  <a:pt x="1455467" y="3735654"/>
                </a:cubicBezTo>
                <a:cubicBezTo>
                  <a:pt x="1461137" y="3739328"/>
                  <a:pt x="1461137" y="3739328"/>
                  <a:pt x="1461137" y="3739328"/>
                </a:cubicBezTo>
                <a:cubicBezTo>
                  <a:pt x="1462135" y="3743998"/>
                  <a:pt x="1462135" y="3743998"/>
                  <a:pt x="1462135" y="3743998"/>
                </a:cubicBezTo>
                <a:cubicBezTo>
                  <a:pt x="1462135" y="3743998"/>
                  <a:pt x="1463132" y="3748671"/>
                  <a:pt x="1463132" y="3748671"/>
                </a:cubicBezTo>
                <a:cubicBezTo>
                  <a:pt x="1464130" y="3753341"/>
                  <a:pt x="1465128" y="3758012"/>
                  <a:pt x="1466126" y="3762683"/>
                </a:cubicBezTo>
                <a:cubicBezTo>
                  <a:pt x="1463452" y="3773022"/>
                  <a:pt x="1464449" y="3777695"/>
                  <a:pt x="1464449" y="3777695"/>
                </a:cubicBezTo>
                <a:cubicBezTo>
                  <a:pt x="1465447" y="3782365"/>
                  <a:pt x="1465447" y="3782365"/>
                  <a:pt x="1465447" y="3782365"/>
                </a:cubicBezTo>
                <a:cubicBezTo>
                  <a:pt x="1466445" y="3787036"/>
                  <a:pt x="1466445" y="3787036"/>
                  <a:pt x="1467443" y="3791707"/>
                </a:cubicBezTo>
                <a:cubicBezTo>
                  <a:pt x="1467443" y="3791707"/>
                  <a:pt x="1467443" y="3791707"/>
                  <a:pt x="1472113" y="3790710"/>
                </a:cubicBezTo>
                <a:cubicBezTo>
                  <a:pt x="1468442" y="3796379"/>
                  <a:pt x="1468442" y="3796379"/>
                  <a:pt x="1468442" y="3796379"/>
                </a:cubicBezTo>
                <a:cubicBezTo>
                  <a:pt x="1468442" y="3796379"/>
                  <a:pt x="1469439" y="3801048"/>
                  <a:pt x="1470437" y="3805720"/>
                </a:cubicBezTo>
                <a:cubicBezTo>
                  <a:pt x="1475427" y="3829075"/>
                  <a:pt x="1481096" y="3832748"/>
                  <a:pt x="1479418" y="3847759"/>
                </a:cubicBezTo>
                <a:cubicBezTo>
                  <a:pt x="1474748" y="3848756"/>
                  <a:pt x="1475745" y="3853428"/>
                  <a:pt x="1475745" y="3853428"/>
                </a:cubicBezTo>
                <a:cubicBezTo>
                  <a:pt x="1475745" y="3853428"/>
                  <a:pt x="1476743" y="3858097"/>
                  <a:pt x="1476743" y="3858097"/>
                </a:cubicBezTo>
                <a:cubicBezTo>
                  <a:pt x="1481415" y="3857100"/>
                  <a:pt x="1481415" y="3857100"/>
                  <a:pt x="1481415" y="3857100"/>
                </a:cubicBezTo>
                <a:cubicBezTo>
                  <a:pt x="1478739" y="3867441"/>
                  <a:pt x="1480735" y="3876783"/>
                  <a:pt x="1481734" y="3881454"/>
                </a:cubicBezTo>
                <a:cubicBezTo>
                  <a:pt x="1482731" y="3886125"/>
                  <a:pt x="1482731" y="3886125"/>
                  <a:pt x="1482731" y="3886125"/>
                </a:cubicBezTo>
                <a:cubicBezTo>
                  <a:pt x="1483728" y="3890795"/>
                  <a:pt x="1483728" y="3890795"/>
                  <a:pt x="1488400" y="3889796"/>
                </a:cubicBezTo>
                <a:cubicBezTo>
                  <a:pt x="1491393" y="3903810"/>
                  <a:pt x="1493389" y="3913153"/>
                  <a:pt x="1490714" y="3923492"/>
                </a:cubicBezTo>
                <a:cubicBezTo>
                  <a:pt x="1495385" y="3922494"/>
                  <a:pt x="1495385" y="3922494"/>
                  <a:pt x="1495385" y="3922494"/>
                </a:cubicBezTo>
                <a:cubicBezTo>
                  <a:pt x="1499376" y="3941178"/>
                  <a:pt x="1499376" y="3941178"/>
                  <a:pt x="1499376" y="3941178"/>
                </a:cubicBezTo>
                <a:cubicBezTo>
                  <a:pt x="1499376" y="3941178"/>
                  <a:pt x="1499376" y="3941178"/>
                  <a:pt x="1495705" y="3946848"/>
                </a:cubicBezTo>
                <a:cubicBezTo>
                  <a:pt x="1493708" y="3937506"/>
                  <a:pt x="1488039" y="3933833"/>
                  <a:pt x="1485365" y="3944173"/>
                </a:cubicBezTo>
                <a:cubicBezTo>
                  <a:pt x="1493708" y="3937506"/>
                  <a:pt x="1494026" y="3961858"/>
                  <a:pt x="1498697" y="3960861"/>
                </a:cubicBezTo>
                <a:cubicBezTo>
                  <a:pt x="1507679" y="4002900"/>
                  <a:pt x="1505683" y="3993557"/>
                  <a:pt x="1519336" y="4034599"/>
                </a:cubicBezTo>
                <a:cubicBezTo>
                  <a:pt x="1519336" y="4034599"/>
                  <a:pt x="1514664" y="4035598"/>
                  <a:pt x="1514664" y="4035598"/>
                </a:cubicBezTo>
                <a:cubicBezTo>
                  <a:pt x="1515663" y="4040268"/>
                  <a:pt x="1515663" y="4040268"/>
                  <a:pt x="1516661" y="4044938"/>
                </a:cubicBezTo>
                <a:cubicBezTo>
                  <a:pt x="1522649" y="4072964"/>
                  <a:pt x="1524644" y="4082307"/>
                  <a:pt x="1528636" y="4100992"/>
                </a:cubicBezTo>
                <a:cubicBezTo>
                  <a:pt x="1528636" y="4100992"/>
                  <a:pt x="1528636" y="4100992"/>
                  <a:pt x="1529635" y="4105662"/>
                </a:cubicBezTo>
                <a:cubicBezTo>
                  <a:pt x="1529635" y="4105662"/>
                  <a:pt x="1529635" y="4105662"/>
                  <a:pt x="1530632" y="4110333"/>
                </a:cubicBezTo>
                <a:cubicBezTo>
                  <a:pt x="1532945" y="4144028"/>
                  <a:pt x="1535303" y="4109335"/>
                  <a:pt x="1543966" y="4127021"/>
                </a:cubicBezTo>
                <a:cubicBezTo>
                  <a:pt x="1539294" y="4128018"/>
                  <a:pt x="1532945" y="4144028"/>
                  <a:pt x="1541290" y="4137361"/>
                </a:cubicBezTo>
                <a:cubicBezTo>
                  <a:pt x="1542289" y="4142032"/>
                  <a:pt x="1542289" y="4142032"/>
                  <a:pt x="1542289" y="4142032"/>
                </a:cubicBezTo>
                <a:cubicBezTo>
                  <a:pt x="1542289" y="4142032"/>
                  <a:pt x="1542289" y="4142032"/>
                  <a:pt x="1543286" y="4146702"/>
                </a:cubicBezTo>
                <a:cubicBezTo>
                  <a:pt x="1538615" y="4147700"/>
                  <a:pt x="1544284" y="4151374"/>
                  <a:pt x="1544284" y="4151374"/>
                </a:cubicBezTo>
                <a:cubicBezTo>
                  <a:pt x="1548276" y="4170059"/>
                  <a:pt x="1543605" y="4171056"/>
                  <a:pt x="1538933" y="4172054"/>
                </a:cubicBezTo>
                <a:cubicBezTo>
                  <a:pt x="1542925" y="4190739"/>
                  <a:pt x="1553266" y="4193413"/>
                  <a:pt x="1550590" y="4203753"/>
                </a:cubicBezTo>
                <a:cubicBezTo>
                  <a:pt x="1557258" y="4212097"/>
                  <a:pt x="1560251" y="4226111"/>
                  <a:pt x="1569592" y="4224113"/>
                </a:cubicBezTo>
                <a:cubicBezTo>
                  <a:pt x="1566917" y="4234454"/>
                  <a:pt x="1575581" y="4252141"/>
                  <a:pt x="1565241" y="4249466"/>
                </a:cubicBezTo>
                <a:cubicBezTo>
                  <a:pt x="1573903" y="4267151"/>
                  <a:pt x="1574584" y="4247470"/>
                  <a:pt x="1574902" y="4271822"/>
                </a:cubicBezTo>
                <a:cubicBezTo>
                  <a:pt x="1575900" y="4276494"/>
                  <a:pt x="1581569" y="4280167"/>
                  <a:pt x="1587238" y="4283840"/>
                </a:cubicBezTo>
                <a:cubicBezTo>
                  <a:pt x="1575900" y="4276494"/>
                  <a:pt x="1590549" y="4322205"/>
                  <a:pt x="1604882" y="4343564"/>
                </a:cubicBezTo>
                <a:cubicBezTo>
                  <a:pt x="1602208" y="4353904"/>
                  <a:pt x="1601209" y="4349234"/>
                  <a:pt x="1595539" y="4345560"/>
                </a:cubicBezTo>
                <a:cubicBezTo>
                  <a:pt x="1602208" y="4353904"/>
                  <a:pt x="1603205" y="4358574"/>
                  <a:pt x="1607875" y="4357577"/>
                </a:cubicBezTo>
                <a:cubicBezTo>
                  <a:pt x="1599531" y="4364244"/>
                  <a:pt x="1608874" y="4362248"/>
                  <a:pt x="1607196" y="4377259"/>
                </a:cubicBezTo>
                <a:cubicBezTo>
                  <a:pt x="1613863" y="4385603"/>
                  <a:pt x="1610870" y="4371589"/>
                  <a:pt x="1622525" y="4403290"/>
                </a:cubicBezTo>
                <a:lnTo>
                  <a:pt x="1618736" y="4400103"/>
                </a:lnTo>
                <a:lnTo>
                  <a:pt x="1614862" y="4390275"/>
                </a:lnTo>
                <a:cubicBezTo>
                  <a:pt x="1615361" y="4392610"/>
                  <a:pt x="1616110" y="4396114"/>
                  <a:pt x="1617316" y="4398908"/>
                </a:cubicBezTo>
                <a:lnTo>
                  <a:pt x="1618736" y="4400103"/>
                </a:lnTo>
                <a:lnTo>
                  <a:pt x="1625519" y="4417302"/>
                </a:lnTo>
                <a:cubicBezTo>
                  <a:pt x="1619850" y="4413630"/>
                  <a:pt x="1615180" y="4414629"/>
                  <a:pt x="1611506" y="4420296"/>
                </a:cubicBezTo>
                <a:cubicBezTo>
                  <a:pt x="1599849" y="4388597"/>
                  <a:pt x="1596856" y="4374584"/>
                  <a:pt x="1580528" y="4343884"/>
                </a:cubicBezTo>
                <a:cubicBezTo>
                  <a:pt x="1572185" y="4350550"/>
                  <a:pt x="1563522" y="4332863"/>
                  <a:pt x="1553861" y="4310507"/>
                </a:cubicBezTo>
                <a:cubicBezTo>
                  <a:pt x="1547194" y="4302163"/>
                  <a:pt x="1546194" y="4297492"/>
                  <a:pt x="1544200" y="4288151"/>
                </a:cubicBezTo>
                <a:cubicBezTo>
                  <a:pt x="1543202" y="4283479"/>
                  <a:pt x="1541206" y="4274137"/>
                  <a:pt x="1540208" y="4269467"/>
                </a:cubicBezTo>
                <a:cubicBezTo>
                  <a:pt x="1536536" y="4275134"/>
                  <a:pt x="1531226" y="4227428"/>
                  <a:pt x="1526874" y="4252779"/>
                </a:cubicBezTo>
                <a:lnTo>
                  <a:pt x="1519888" y="4220081"/>
                </a:lnTo>
                <a:cubicBezTo>
                  <a:pt x="1513902" y="4192054"/>
                  <a:pt x="1530228" y="4222756"/>
                  <a:pt x="1521566" y="4205070"/>
                </a:cubicBezTo>
                <a:cubicBezTo>
                  <a:pt x="1520568" y="4200398"/>
                  <a:pt x="1519571" y="4195728"/>
                  <a:pt x="1518573" y="4191057"/>
                </a:cubicBezTo>
                <a:cubicBezTo>
                  <a:pt x="1518573" y="4191057"/>
                  <a:pt x="1517576" y="4186384"/>
                  <a:pt x="1517576" y="4186384"/>
                </a:cubicBezTo>
                <a:cubicBezTo>
                  <a:pt x="1517576" y="4186384"/>
                  <a:pt x="1517576" y="4186384"/>
                  <a:pt x="1516577" y="4181714"/>
                </a:cubicBezTo>
                <a:cubicBezTo>
                  <a:pt x="1517576" y="4186384"/>
                  <a:pt x="1517576" y="4186384"/>
                  <a:pt x="1522245" y="4185387"/>
                </a:cubicBezTo>
                <a:cubicBezTo>
                  <a:pt x="1513583" y="4167702"/>
                  <a:pt x="1513583" y="4167702"/>
                  <a:pt x="1513583" y="4167702"/>
                </a:cubicBezTo>
                <a:cubicBezTo>
                  <a:pt x="1517256" y="4162033"/>
                  <a:pt x="1517256" y="4162033"/>
                  <a:pt x="1517256" y="4162033"/>
                </a:cubicBezTo>
                <a:cubicBezTo>
                  <a:pt x="1517256" y="4162033"/>
                  <a:pt x="1517256" y="4162033"/>
                  <a:pt x="1516257" y="4157362"/>
                </a:cubicBezTo>
                <a:cubicBezTo>
                  <a:pt x="1515260" y="4152691"/>
                  <a:pt x="1515260" y="4152691"/>
                  <a:pt x="1515260" y="4152691"/>
                </a:cubicBezTo>
                <a:cubicBezTo>
                  <a:pt x="1514261" y="4148019"/>
                  <a:pt x="1509591" y="4149018"/>
                  <a:pt x="1509591" y="4149018"/>
                </a:cubicBezTo>
                <a:cubicBezTo>
                  <a:pt x="1509271" y="4124666"/>
                  <a:pt x="1504602" y="4125663"/>
                  <a:pt x="1503605" y="4120992"/>
                </a:cubicBezTo>
                <a:cubicBezTo>
                  <a:pt x="1503605" y="4120992"/>
                  <a:pt x="1497934" y="4117319"/>
                  <a:pt x="1497934" y="4117319"/>
                </a:cubicBezTo>
                <a:cubicBezTo>
                  <a:pt x="1494941" y="4103305"/>
                  <a:pt x="1496618" y="4088295"/>
                  <a:pt x="1491948" y="4089292"/>
                </a:cubicBezTo>
                <a:cubicBezTo>
                  <a:pt x="1490948" y="4084621"/>
                  <a:pt x="1490948" y="4084621"/>
                  <a:pt x="1490948" y="4084621"/>
                </a:cubicBezTo>
                <a:cubicBezTo>
                  <a:pt x="1490948" y="4084621"/>
                  <a:pt x="1489951" y="4079950"/>
                  <a:pt x="1489951" y="4079950"/>
                </a:cubicBezTo>
                <a:cubicBezTo>
                  <a:pt x="1486277" y="4085620"/>
                  <a:pt x="1486277" y="4085620"/>
                  <a:pt x="1486277" y="4085620"/>
                </a:cubicBezTo>
                <a:cubicBezTo>
                  <a:pt x="1491629" y="4064938"/>
                  <a:pt x="1478973" y="4028571"/>
                  <a:pt x="1475301" y="4034238"/>
                </a:cubicBezTo>
                <a:cubicBezTo>
                  <a:pt x="1480970" y="4037911"/>
                  <a:pt x="1477297" y="4043581"/>
                  <a:pt x="1478294" y="4048252"/>
                </a:cubicBezTo>
                <a:cubicBezTo>
                  <a:pt x="1476299" y="4038909"/>
                  <a:pt x="1470629" y="4035237"/>
                  <a:pt x="1470629" y="4035237"/>
                </a:cubicBezTo>
                <a:cubicBezTo>
                  <a:pt x="1473623" y="4049251"/>
                  <a:pt x="1473623" y="4049251"/>
                  <a:pt x="1473623" y="4049251"/>
                </a:cubicBezTo>
                <a:cubicBezTo>
                  <a:pt x="1473623" y="4049251"/>
                  <a:pt x="1468953" y="4050248"/>
                  <a:pt x="1467954" y="4045576"/>
                </a:cubicBezTo>
                <a:cubicBezTo>
                  <a:pt x="1464282" y="4051246"/>
                  <a:pt x="1465279" y="4055915"/>
                  <a:pt x="1469951" y="4054918"/>
                </a:cubicBezTo>
                <a:cubicBezTo>
                  <a:pt x="1469951" y="4054918"/>
                  <a:pt x="1469951" y="4054918"/>
                  <a:pt x="1470949" y="4059589"/>
                </a:cubicBezTo>
                <a:cubicBezTo>
                  <a:pt x="1464600" y="4075598"/>
                  <a:pt x="1456256" y="4082266"/>
                  <a:pt x="1463242" y="4114962"/>
                </a:cubicBezTo>
                <a:cubicBezTo>
                  <a:pt x="1464239" y="4119633"/>
                  <a:pt x="1464239" y="4119633"/>
                  <a:pt x="1465238" y="4124305"/>
                </a:cubicBezTo>
                <a:cubicBezTo>
                  <a:pt x="1459568" y="4120631"/>
                  <a:pt x="1459568" y="4120631"/>
                  <a:pt x="1454896" y="4121629"/>
                </a:cubicBezTo>
                <a:cubicBezTo>
                  <a:pt x="1453899" y="4116958"/>
                  <a:pt x="1453899" y="4116958"/>
                  <a:pt x="1452901" y="4112288"/>
                </a:cubicBezTo>
                <a:cubicBezTo>
                  <a:pt x="1448230" y="4113286"/>
                  <a:pt x="1447233" y="4108614"/>
                  <a:pt x="1448230" y="4113286"/>
                </a:cubicBezTo>
                <a:cubicBezTo>
                  <a:pt x="1448230" y="4113286"/>
                  <a:pt x="1449228" y="4117957"/>
                  <a:pt x="1449228" y="4117957"/>
                </a:cubicBezTo>
                <a:cubicBezTo>
                  <a:pt x="1437573" y="4086258"/>
                  <a:pt x="1439250" y="4071246"/>
                  <a:pt x="1426595" y="4034876"/>
                </a:cubicBezTo>
                <a:cubicBezTo>
                  <a:pt x="1432264" y="4038549"/>
                  <a:pt x="1433262" y="4043220"/>
                  <a:pt x="1432264" y="4038549"/>
                </a:cubicBezTo>
                <a:cubicBezTo>
                  <a:pt x="1432264" y="4038549"/>
                  <a:pt x="1435937" y="4032880"/>
                  <a:pt x="1435937" y="4032880"/>
                </a:cubicBezTo>
                <a:lnTo>
                  <a:pt x="1437931" y="4042221"/>
                </a:lnTo>
                <a:cubicBezTo>
                  <a:pt x="1437613" y="4017869"/>
                  <a:pt x="1434620" y="4003856"/>
                  <a:pt x="1426954" y="3990842"/>
                </a:cubicBezTo>
                <a:cubicBezTo>
                  <a:pt x="1426954" y="3990842"/>
                  <a:pt x="1426954" y="3990842"/>
                  <a:pt x="1431626" y="3989844"/>
                </a:cubicBezTo>
                <a:lnTo>
                  <a:pt x="1430629" y="3985172"/>
                </a:lnTo>
                <a:cubicBezTo>
                  <a:pt x="1429630" y="3980499"/>
                  <a:pt x="1429630" y="3980499"/>
                  <a:pt x="1428631" y="3975830"/>
                </a:cubicBezTo>
                <a:cubicBezTo>
                  <a:pt x="1421965" y="3967486"/>
                  <a:pt x="1422644" y="3947804"/>
                  <a:pt x="1421646" y="3943133"/>
                </a:cubicBezTo>
                <a:cubicBezTo>
                  <a:pt x="1421646" y="3943133"/>
                  <a:pt x="1420648" y="3938462"/>
                  <a:pt x="1420648" y="3938462"/>
                </a:cubicBezTo>
                <a:cubicBezTo>
                  <a:pt x="1419652" y="3933790"/>
                  <a:pt x="1419652" y="3933790"/>
                  <a:pt x="1419652" y="3933790"/>
                </a:cubicBezTo>
                <a:cubicBezTo>
                  <a:pt x="1411985" y="3920775"/>
                  <a:pt x="1410669" y="3891751"/>
                  <a:pt x="1405000" y="3888080"/>
                </a:cubicBezTo>
                <a:cubicBezTo>
                  <a:pt x="1405000" y="3888080"/>
                  <a:pt x="1404002" y="3883408"/>
                  <a:pt x="1404002" y="3883408"/>
                </a:cubicBezTo>
                <a:cubicBezTo>
                  <a:pt x="1404002" y="3883408"/>
                  <a:pt x="1403004" y="3878736"/>
                  <a:pt x="1403004" y="3878736"/>
                </a:cubicBezTo>
                <a:cubicBezTo>
                  <a:pt x="1402006" y="3874066"/>
                  <a:pt x="1401007" y="3869395"/>
                  <a:pt x="1401007" y="3869395"/>
                </a:cubicBezTo>
                <a:cubicBezTo>
                  <a:pt x="1396337" y="3870392"/>
                  <a:pt x="1396337" y="3870392"/>
                  <a:pt x="1398335" y="3879735"/>
                </a:cubicBezTo>
                <a:cubicBezTo>
                  <a:pt x="1398335" y="3879735"/>
                  <a:pt x="1393662" y="3880734"/>
                  <a:pt x="1394660" y="3885404"/>
                </a:cubicBezTo>
                <a:cubicBezTo>
                  <a:pt x="1397336" y="3875064"/>
                  <a:pt x="1391667" y="3871391"/>
                  <a:pt x="1390668" y="3866720"/>
                </a:cubicBezTo>
                <a:cubicBezTo>
                  <a:pt x="1395340" y="3865721"/>
                  <a:pt x="1395340" y="3865721"/>
                  <a:pt x="1395340" y="3865721"/>
                </a:cubicBezTo>
                <a:cubicBezTo>
                  <a:pt x="1395340" y="3865721"/>
                  <a:pt x="1394342" y="3861051"/>
                  <a:pt x="1394342" y="3861051"/>
                </a:cubicBezTo>
                <a:cubicBezTo>
                  <a:pt x="1393344" y="3856381"/>
                  <a:pt x="1393344" y="3856381"/>
                  <a:pt x="1393344" y="3856381"/>
                </a:cubicBezTo>
                <a:cubicBezTo>
                  <a:pt x="1388672" y="3857379"/>
                  <a:pt x="1388672" y="3857379"/>
                  <a:pt x="1388672" y="3857379"/>
                </a:cubicBezTo>
                <a:cubicBezTo>
                  <a:pt x="1384681" y="3838693"/>
                  <a:pt x="1390351" y="3842367"/>
                  <a:pt x="1393024" y="3832027"/>
                </a:cubicBezTo>
                <a:cubicBezTo>
                  <a:pt x="1388354" y="3833025"/>
                  <a:pt x="1385361" y="3819012"/>
                  <a:pt x="1380689" y="3820009"/>
                </a:cubicBezTo>
                <a:cubicBezTo>
                  <a:pt x="1388354" y="3833025"/>
                  <a:pt x="1375339" y="3840689"/>
                  <a:pt x="1383004" y="3853705"/>
                </a:cubicBezTo>
                <a:cubicBezTo>
                  <a:pt x="1385679" y="3843366"/>
                  <a:pt x="1386677" y="3848036"/>
                  <a:pt x="1388672" y="3857379"/>
                </a:cubicBezTo>
                <a:cubicBezTo>
                  <a:pt x="1384002" y="3858376"/>
                  <a:pt x="1384002" y="3858376"/>
                  <a:pt x="1384002" y="3858376"/>
                </a:cubicBezTo>
                <a:cubicBezTo>
                  <a:pt x="1384002" y="3858376"/>
                  <a:pt x="1384002" y="3858376"/>
                  <a:pt x="1385000" y="3863047"/>
                </a:cubicBezTo>
                <a:cubicBezTo>
                  <a:pt x="1385000" y="3863047"/>
                  <a:pt x="1385998" y="3867719"/>
                  <a:pt x="1385998" y="3867719"/>
                </a:cubicBezTo>
                <a:cubicBezTo>
                  <a:pt x="1390668" y="3866720"/>
                  <a:pt x="1390668" y="3866720"/>
                  <a:pt x="1390668" y="3866720"/>
                </a:cubicBezTo>
                <a:cubicBezTo>
                  <a:pt x="1393503" y="3868555"/>
                  <a:pt x="1393334" y="3873478"/>
                  <a:pt x="1393163" y="3878397"/>
                </a:cubicBezTo>
                <a:lnTo>
                  <a:pt x="1394660" y="3885404"/>
                </a:lnTo>
                <a:lnTo>
                  <a:pt x="1395658" y="3890075"/>
                </a:lnTo>
                <a:cubicBezTo>
                  <a:pt x="1390987" y="3891074"/>
                  <a:pt x="1390987" y="3891074"/>
                  <a:pt x="1390987" y="3891074"/>
                </a:cubicBezTo>
                <a:cubicBezTo>
                  <a:pt x="1390987" y="3891074"/>
                  <a:pt x="1390987" y="3891074"/>
                  <a:pt x="1391984" y="3895744"/>
                </a:cubicBezTo>
                <a:cubicBezTo>
                  <a:pt x="1392983" y="3900415"/>
                  <a:pt x="1392983" y="3900415"/>
                  <a:pt x="1392983" y="3900415"/>
                </a:cubicBezTo>
                <a:cubicBezTo>
                  <a:pt x="1396296" y="3938780"/>
                  <a:pt x="1411944" y="3989163"/>
                  <a:pt x="1420606" y="4006850"/>
                </a:cubicBezTo>
                <a:cubicBezTo>
                  <a:pt x="1420606" y="4006850"/>
                  <a:pt x="1420606" y="4006850"/>
                  <a:pt x="1415936" y="4007847"/>
                </a:cubicBezTo>
                <a:cubicBezTo>
                  <a:pt x="1415936" y="4007847"/>
                  <a:pt x="1416933" y="4012520"/>
                  <a:pt x="1417931" y="4017190"/>
                </a:cubicBezTo>
                <a:cubicBezTo>
                  <a:pt x="1427591" y="4039547"/>
                  <a:pt x="1420924" y="4031202"/>
                  <a:pt x="1421923" y="4035875"/>
                </a:cubicBezTo>
                <a:cubicBezTo>
                  <a:pt x="1429588" y="4048889"/>
                  <a:pt x="1442562" y="4109612"/>
                  <a:pt x="1437890" y="4110609"/>
                </a:cubicBezTo>
                <a:cubicBezTo>
                  <a:pt x="1447551" y="4132968"/>
                  <a:pt x="1443877" y="4138635"/>
                  <a:pt x="1458528" y="4184349"/>
                </a:cubicBezTo>
                <a:cubicBezTo>
                  <a:pt x="1461522" y="4198361"/>
                  <a:pt x="1459845" y="4213371"/>
                  <a:pt x="1462839" y="4227385"/>
                </a:cubicBezTo>
                <a:cubicBezTo>
                  <a:pt x="1460164" y="4237725"/>
                  <a:pt x="1454494" y="4234052"/>
                  <a:pt x="1456490" y="4243395"/>
                </a:cubicBezTo>
                <a:cubicBezTo>
                  <a:pt x="1453136" y="4273416"/>
                  <a:pt x="1466788" y="4314457"/>
                  <a:pt x="1468105" y="4343482"/>
                </a:cubicBezTo>
                <a:cubicBezTo>
                  <a:pt x="1469102" y="4348152"/>
                  <a:pt x="1462436" y="4339808"/>
                  <a:pt x="1461439" y="4335137"/>
                </a:cubicBezTo>
                <a:cubicBezTo>
                  <a:pt x="1459761" y="4350148"/>
                  <a:pt x="1471736" y="4406199"/>
                  <a:pt x="1454730" y="4395182"/>
                </a:cubicBezTo>
                <a:cubicBezTo>
                  <a:pt x="1448063" y="4386836"/>
                  <a:pt x="1448063" y="4386836"/>
                  <a:pt x="1448063" y="4386836"/>
                </a:cubicBezTo>
                <a:cubicBezTo>
                  <a:pt x="1450058" y="4396179"/>
                  <a:pt x="1450058" y="4396179"/>
                  <a:pt x="1450058" y="4396179"/>
                </a:cubicBezTo>
                <a:cubicBezTo>
                  <a:pt x="1437723" y="4384161"/>
                  <a:pt x="1432733" y="4360806"/>
                  <a:pt x="1422075" y="4333778"/>
                </a:cubicBezTo>
                <a:cubicBezTo>
                  <a:pt x="1419080" y="4319766"/>
                  <a:pt x="1416086" y="4305753"/>
                  <a:pt x="1413412" y="4316093"/>
                </a:cubicBezTo>
                <a:cubicBezTo>
                  <a:pt x="1412414" y="4311422"/>
                  <a:pt x="1412414" y="4311422"/>
                  <a:pt x="1412414" y="4311422"/>
                </a:cubicBezTo>
                <a:cubicBezTo>
                  <a:pt x="1407741" y="4312421"/>
                  <a:pt x="1407741" y="4312421"/>
                  <a:pt x="1407741" y="4312421"/>
                </a:cubicBezTo>
                <a:cubicBezTo>
                  <a:pt x="1398400" y="4314415"/>
                  <a:pt x="1404748" y="4298407"/>
                  <a:pt x="1402752" y="4289064"/>
                </a:cubicBezTo>
                <a:cubicBezTo>
                  <a:pt x="1400078" y="4299405"/>
                  <a:pt x="1390415" y="4277046"/>
                  <a:pt x="1393410" y="4291060"/>
                </a:cubicBezTo>
                <a:cubicBezTo>
                  <a:pt x="1399079" y="4294733"/>
                  <a:pt x="1401076" y="4304075"/>
                  <a:pt x="1396404" y="4305073"/>
                </a:cubicBezTo>
                <a:cubicBezTo>
                  <a:pt x="1402074" y="4308745"/>
                  <a:pt x="1404069" y="4318088"/>
                  <a:pt x="1407063" y="4332102"/>
                </a:cubicBezTo>
                <a:cubicBezTo>
                  <a:pt x="1396043" y="4349108"/>
                  <a:pt x="1404346" y="4410830"/>
                  <a:pt x="1419993" y="4461213"/>
                </a:cubicBezTo>
                <a:cubicBezTo>
                  <a:pt x="1416321" y="4466881"/>
                  <a:pt x="1416321" y="4466881"/>
                  <a:pt x="1412648" y="4472550"/>
                </a:cubicBezTo>
                <a:cubicBezTo>
                  <a:pt x="1406978" y="4468877"/>
                  <a:pt x="1405981" y="4464205"/>
                  <a:pt x="1404983" y="4459535"/>
                </a:cubicBezTo>
                <a:cubicBezTo>
                  <a:pt x="1404983" y="4459535"/>
                  <a:pt x="1403985" y="4454865"/>
                  <a:pt x="1403985" y="4454865"/>
                </a:cubicBezTo>
                <a:cubicBezTo>
                  <a:pt x="1403985" y="4454865"/>
                  <a:pt x="1398316" y="4451189"/>
                  <a:pt x="1398316" y="4451189"/>
                </a:cubicBezTo>
                <a:cubicBezTo>
                  <a:pt x="1398316" y="4451189"/>
                  <a:pt x="1398316" y="4451189"/>
                  <a:pt x="1399315" y="4455862"/>
                </a:cubicBezTo>
                <a:cubicBezTo>
                  <a:pt x="1399315" y="4455862"/>
                  <a:pt x="1400312" y="4460533"/>
                  <a:pt x="1400312" y="4460533"/>
                </a:cubicBezTo>
                <a:cubicBezTo>
                  <a:pt x="1400312" y="4460533"/>
                  <a:pt x="1394644" y="4456859"/>
                  <a:pt x="1393645" y="4452188"/>
                </a:cubicBezTo>
                <a:cubicBezTo>
                  <a:pt x="1391649" y="4442847"/>
                  <a:pt x="1390651" y="4438176"/>
                  <a:pt x="1388655" y="4428834"/>
                </a:cubicBezTo>
                <a:lnTo>
                  <a:pt x="1396421" y="4442316"/>
                </a:lnTo>
                <a:lnTo>
                  <a:pt x="1397319" y="4446519"/>
                </a:lnTo>
                <a:cubicBezTo>
                  <a:pt x="1403485" y="4452529"/>
                  <a:pt x="1401820" y="4450442"/>
                  <a:pt x="1398362" y="4445687"/>
                </a:cubicBezTo>
                <a:lnTo>
                  <a:pt x="1396421" y="4442316"/>
                </a:lnTo>
                <a:lnTo>
                  <a:pt x="1394700" y="4434259"/>
                </a:lnTo>
                <a:cubicBezTo>
                  <a:pt x="1394325" y="4432507"/>
                  <a:pt x="1394325" y="4432507"/>
                  <a:pt x="1394325" y="4432507"/>
                </a:cubicBezTo>
                <a:cubicBezTo>
                  <a:pt x="1394325" y="4432507"/>
                  <a:pt x="1398995" y="4431508"/>
                  <a:pt x="1398995" y="4431508"/>
                </a:cubicBezTo>
                <a:cubicBezTo>
                  <a:pt x="1398995" y="4431508"/>
                  <a:pt x="1398995" y="4431508"/>
                  <a:pt x="1397996" y="4426838"/>
                </a:cubicBezTo>
                <a:cubicBezTo>
                  <a:pt x="1397996" y="4426838"/>
                  <a:pt x="1397000" y="4422167"/>
                  <a:pt x="1397000" y="4422167"/>
                </a:cubicBezTo>
                <a:cubicBezTo>
                  <a:pt x="1393327" y="4427837"/>
                  <a:pt x="1392329" y="4423164"/>
                  <a:pt x="1392329" y="4423164"/>
                </a:cubicBezTo>
                <a:cubicBezTo>
                  <a:pt x="1391330" y="4418493"/>
                  <a:pt x="1390333" y="4413823"/>
                  <a:pt x="1385662" y="4414822"/>
                </a:cubicBezTo>
                <a:cubicBezTo>
                  <a:pt x="1384664" y="4410150"/>
                  <a:pt x="1384664" y="4410150"/>
                  <a:pt x="1384664" y="4410150"/>
                </a:cubicBezTo>
                <a:cubicBezTo>
                  <a:pt x="1389336" y="4409152"/>
                  <a:pt x="1388338" y="4404480"/>
                  <a:pt x="1383666" y="4405478"/>
                </a:cubicBezTo>
                <a:cubicBezTo>
                  <a:pt x="1382668" y="4400808"/>
                  <a:pt x="1380424" y="4390299"/>
                  <a:pt x="1378801" y="4382708"/>
                </a:cubicBezTo>
                <a:lnTo>
                  <a:pt x="1377677" y="4377453"/>
                </a:lnTo>
                <a:cubicBezTo>
                  <a:pt x="1379673" y="4386795"/>
                  <a:pt x="1377996" y="4401807"/>
                  <a:pt x="1377996" y="4401807"/>
                </a:cubicBezTo>
                <a:cubicBezTo>
                  <a:pt x="1375004" y="4387793"/>
                  <a:pt x="1367339" y="4374777"/>
                  <a:pt x="1364344" y="4360763"/>
                </a:cubicBezTo>
                <a:cubicBezTo>
                  <a:pt x="1357100" y="4343998"/>
                  <a:pt x="1355467" y="4353504"/>
                  <a:pt x="1349899" y="4354235"/>
                </a:cubicBezTo>
                <a:lnTo>
                  <a:pt x="1345078" y="4351907"/>
                </a:lnTo>
                <a:lnTo>
                  <a:pt x="1348800" y="4372250"/>
                </a:lnTo>
                <a:cubicBezTo>
                  <a:pt x="1354182" y="4389739"/>
                  <a:pt x="1362927" y="4405884"/>
                  <a:pt x="1379072" y="4419338"/>
                </a:cubicBezTo>
                <a:cubicBezTo>
                  <a:pt x="1389836" y="4430100"/>
                  <a:pt x="1387145" y="4440864"/>
                  <a:pt x="1389836" y="4454318"/>
                </a:cubicBezTo>
                <a:cubicBezTo>
                  <a:pt x="1389836" y="4481225"/>
                  <a:pt x="1395218" y="4505441"/>
                  <a:pt x="1411363" y="4524275"/>
                </a:cubicBezTo>
                <a:cubicBezTo>
                  <a:pt x="1451727" y="4567327"/>
                  <a:pt x="1482001" y="4616433"/>
                  <a:pt x="1509583" y="4667558"/>
                </a:cubicBezTo>
                <a:lnTo>
                  <a:pt x="1577273" y="4795718"/>
                </a:lnTo>
                <a:lnTo>
                  <a:pt x="1579917" y="4798245"/>
                </a:lnTo>
                <a:cubicBezTo>
                  <a:pt x="1584587" y="4797247"/>
                  <a:pt x="1580594" y="4778563"/>
                  <a:pt x="1576604" y="4759879"/>
                </a:cubicBezTo>
                <a:cubicBezTo>
                  <a:pt x="1609577" y="4845636"/>
                  <a:pt x="1674569" y="4944085"/>
                  <a:pt x="1731897" y="5029523"/>
                </a:cubicBezTo>
                <a:lnTo>
                  <a:pt x="1728521" y="5034733"/>
                </a:lnTo>
                <a:lnTo>
                  <a:pt x="1864742" y="5210497"/>
                </a:lnTo>
                <a:lnTo>
                  <a:pt x="1960966" y="5314141"/>
                </a:lnTo>
                <a:lnTo>
                  <a:pt x="1964240" y="5316895"/>
                </a:lnTo>
                <a:lnTo>
                  <a:pt x="1966833" y="5320459"/>
                </a:lnTo>
                <a:lnTo>
                  <a:pt x="2003292" y="5359731"/>
                </a:lnTo>
                <a:lnTo>
                  <a:pt x="2005134" y="5358985"/>
                </a:lnTo>
                <a:cubicBezTo>
                  <a:pt x="2006603" y="5359434"/>
                  <a:pt x="2009083" y="5361041"/>
                  <a:pt x="2013584" y="5364962"/>
                </a:cubicBezTo>
                <a:cubicBezTo>
                  <a:pt x="2007915" y="5361289"/>
                  <a:pt x="2008414" y="5363625"/>
                  <a:pt x="2011996" y="5368965"/>
                </a:cubicBezTo>
                <a:lnTo>
                  <a:pt x="2012621" y="5369779"/>
                </a:lnTo>
                <a:lnTo>
                  <a:pt x="2021956" y="5379834"/>
                </a:lnTo>
                <a:lnTo>
                  <a:pt x="2059336" y="5413704"/>
                </a:lnTo>
                <a:lnTo>
                  <a:pt x="2059384" y="5410736"/>
                </a:lnTo>
                <a:cubicBezTo>
                  <a:pt x="2056760" y="5407022"/>
                  <a:pt x="2053427" y="5402851"/>
                  <a:pt x="2055262" y="5400017"/>
                </a:cubicBezTo>
                <a:cubicBezTo>
                  <a:pt x="2064764" y="5410196"/>
                  <a:pt x="2067179" y="5415787"/>
                  <a:pt x="2068636" y="5419749"/>
                </a:cubicBezTo>
                <a:lnTo>
                  <a:pt x="2074568" y="5427506"/>
                </a:lnTo>
                <a:lnTo>
                  <a:pt x="2093075" y="5444275"/>
                </a:lnTo>
                <a:lnTo>
                  <a:pt x="2096976" y="5446663"/>
                </a:lnTo>
                <a:lnTo>
                  <a:pt x="2101272" y="5451702"/>
                </a:lnTo>
                <a:lnTo>
                  <a:pt x="2190614" y="5532655"/>
                </a:lnTo>
                <a:lnTo>
                  <a:pt x="2190957" y="5532205"/>
                </a:lnTo>
                <a:lnTo>
                  <a:pt x="2192913" y="5534621"/>
                </a:lnTo>
                <a:lnTo>
                  <a:pt x="2345065" y="5651238"/>
                </a:lnTo>
                <a:lnTo>
                  <a:pt x="2345801" y="5651144"/>
                </a:lnTo>
                <a:cubicBezTo>
                  <a:pt x="2348510" y="5652397"/>
                  <a:pt x="2351344" y="5654233"/>
                  <a:pt x="2353680" y="5653734"/>
                </a:cubicBezTo>
                <a:cubicBezTo>
                  <a:pt x="2353680" y="5653734"/>
                  <a:pt x="2354677" y="5658406"/>
                  <a:pt x="2354677" y="5658406"/>
                </a:cubicBezTo>
                <a:lnTo>
                  <a:pt x="2354729" y="5658644"/>
                </a:lnTo>
                <a:lnTo>
                  <a:pt x="2365695" y="5667049"/>
                </a:lnTo>
                <a:lnTo>
                  <a:pt x="2371685" y="5669425"/>
                </a:lnTo>
                <a:cubicBezTo>
                  <a:pt x="2371685" y="5669425"/>
                  <a:pt x="2376356" y="5668427"/>
                  <a:pt x="2370688" y="5664753"/>
                </a:cubicBezTo>
                <a:cubicBezTo>
                  <a:pt x="2369689" y="5660084"/>
                  <a:pt x="2369689" y="5660084"/>
                  <a:pt x="2369689" y="5660084"/>
                </a:cubicBezTo>
                <a:cubicBezTo>
                  <a:pt x="2386696" y="5671101"/>
                  <a:pt x="2367015" y="5670422"/>
                  <a:pt x="2387695" y="5675773"/>
                </a:cubicBezTo>
                <a:cubicBezTo>
                  <a:pt x="2388692" y="5680444"/>
                  <a:pt x="2388692" y="5680444"/>
                  <a:pt x="2388692" y="5680444"/>
                </a:cubicBezTo>
                <a:cubicBezTo>
                  <a:pt x="2389690" y="5685115"/>
                  <a:pt x="2389690" y="5685115"/>
                  <a:pt x="2394361" y="5684116"/>
                </a:cubicBezTo>
                <a:cubicBezTo>
                  <a:pt x="2400030" y="5687790"/>
                  <a:pt x="2400030" y="5687790"/>
                  <a:pt x="2400030" y="5687790"/>
                </a:cubicBezTo>
                <a:cubicBezTo>
                  <a:pt x="2402865" y="5689627"/>
                  <a:pt x="2404282" y="5690545"/>
                  <a:pt x="2405825" y="5692047"/>
                </a:cubicBezTo>
                <a:lnTo>
                  <a:pt x="2409797" y="5696759"/>
                </a:lnTo>
                <a:lnTo>
                  <a:pt x="2414794" y="5700011"/>
                </a:lnTo>
                <a:lnTo>
                  <a:pt x="2432881" y="5701530"/>
                </a:lnTo>
                <a:cubicBezTo>
                  <a:pt x="2440053" y="5703661"/>
                  <a:pt x="2445223" y="5704998"/>
                  <a:pt x="2441390" y="5698491"/>
                </a:cubicBezTo>
                <a:cubicBezTo>
                  <a:pt x="2439054" y="5698990"/>
                  <a:pt x="2435053" y="5697402"/>
                  <a:pt x="2430801" y="5694648"/>
                </a:cubicBezTo>
                <a:lnTo>
                  <a:pt x="2423109" y="5687744"/>
                </a:lnTo>
                <a:lnTo>
                  <a:pt x="2429054" y="5686473"/>
                </a:lnTo>
                <a:cubicBezTo>
                  <a:pt x="2457400" y="5704839"/>
                  <a:pt x="2485743" y="5723205"/>
                  <a:pt x="2503749" y="5738894"/>
                </a:cubicBezTo>
                <a:cubicBezTo>
                  <a:pt x="2504747" y="5743565"/>
                  <a:pt x="2509419" y="5742568"/>
                  <a:pt x="2509419" y="5742568"/>
                </a:cubicBezTo>
                <a:cubicBezTo>
                  <a:pt x="2527423" y="5758257"/>
                  <a:pt x="2493408" y="5736220"/>
                  <a:pt x="2500075" y="5744562"/>
                </a:cubicBezTo>
                <a:cubicBezTo>
                  <a:pt x="2521754" y="5754584"/>
                  <a:pt x="2517083" y="5755583"/>
                  <a:pt x="2519077" y="5764924"/>
                </a:cubicBezTo>
                <a:cubicBezTo>
                  <a:pt x="2539757" y="5770275"/>
                  <a:pt x="2548422" y="5787961"/>
                  <a:pt x="2540756" y="5774946"/>
                </a:cubicBezTo>
                <a:cubicBezTo>
                  <a:pt x="2545427" y="5773948"/>
                  <a:pt x="2545427" y="5773948"/>
                  <a:pt x="2545427" y="5773948"/>
                </a:cubicBezTo>
                <a:cubicBezTo>
                  <a:pt x="2550097" y="5772950"/>
                  <a:pt x="2550097" y="5772950"/>
                  <a:pt x="2550097" y="5772950"/>
                </a:cubicBezTo>
                <a:cubicBezTo>
                  <a:pt x="2555767" y="5776622"/>
                  <a:pt x="2566107" y="5779297"/>
                  <a:pt x="2572773" y="5787641"/>
                </a:cubicBezTo>
                <a:cubicBezTo>
                  <a:pt x="2571776" y="5782971"/>
                  <a:pt x="2576447" y="5781973"/>
                  <a:pt x="2582118" y="5785645"/>
                </a:cubicBezTo>
                <a:cubicBezTo>
                  <a:pt x="2602796" y="5790996"/>
                  <a:pt x="2623796" y="5820700"/>
                  <a:pt x="2650143" y="5829723"/>
                </a:cubicBezTo>
                <a:cubicBezTo>
                  <a:pt x="2656810" y="5838067"/>
                  <a:pt x="2660484" y="5832397"/>
                  <a:pt x="2670824" y="5835072"/>
                </a:cubicBezTo>
                <a:cubicBezTo>
                  <a:pt x="2670824" y="5835072"/>
                  <a:pt x="2677490" y="5843417"/>
                  <a:pt x="2684158" y="5851761"/>
                </a:cubicBezTo>
                <a:cubicBezTo>
                  <a:pt x="2739850" y="5883820"/>
                  <a:pt x="2819895" y="5915562"/>
                  <a:pt x="2874588" y="5942950"/>
                </a:cubicBezTo>
                <a:cubicBezTo>
                  <a:pt x="2901935" y="5956644"/>
                  <a:pt x="2923613" y="5966665"/>
                  <a:pt x="2956629" y="5984033"/>
                </a:cubicBezTo>
                <a:cubicBezTo>
                  <a:pt x="2966969" y="5986708"/>
                  <a:pt x="2992320" y="5991060"/>
                  <a:pt x="3003657" y="5998405"/>
                </a:cubicBezTo>
                <a:cubicBezTo>
                  <a:pt x="3003657" y="5998405"/>
                  <a:pt x="3010325" y="6006750"/>
                  <a:pt x="3010325" y="6006750"/>
                </a:cubicBezTo>
                <a:cubicBezTo>
                  <a:pt x="3036674" y="6015773"/>
                  <a:pt x="3035676" y="6011102"/>
                  <a:pt x="3052682" y="6022121"/>
                </a:cubicBezTo>
                <a:cubicBezTo>
                  <a:pt x="3041345" y="6014776"/>
                  <a:pt x="3101709" y="6045837"/>
                  <a:pt x="3132727" y="6053863"/>
                </a:cubicBezTo>
                <a:cubicBezTo>
                  <a:pt x="3181752" y="6077579"/>
                  <a:pt x="3248465" y="6092630"/>
                  <a:pt x="3306831" y="6114351"/>
                </a:cubicBezTo>
                <a:cubicBezTo>
                  <a:pt x="3332182" y="6118703"/>
                  <a:pt x="3368871" y="6130401"/>
                  <a:pt x="3409233" y="6136431"/>
                </a:cubicBezTo>
                <a:cubicBezTo>
                  <a:pt x="3450593" y="6147132"/>
                  <a:pt x="3495627" y="6152162"/>
                  <a:pt x="3520977" y="6156515"/>
                </a:cubicBezTo>
                <a:cubicBezTo>
                  <a:pt x="3591361" y="6165899"/>
                  <a:pt x="3648729" y="6182948"/>
                  <a:pt x="3704103" y="6190654"/>
                </a:cubicBezTo>
                <a:cubicBezTo>
                  <a:pt x="3743467" y="6192014"/>
                  <a:pt x="3797843" y="6195048"/>
                  <a:pt x="3841878" y="6195409"/>
                </a:cubicBezTo>
                <a:cubicBezTo>
                  <a:pt x="3868226" y="6204433"/>
                  <a:pt x="3901921" y="6202118"/>
                  <a:pt x="3935617" y="6199803"/>
                </a:cubicBezTo>
                <a:cubicBezTo>
                  <a:pt x="3952624" y="6210822"/>
                  <a:pt x="4001331" y="6210186"/>
                  <a:pt x="4050037" y="6209548"/>
                </a:cubicBezTo>
                <a:cubicBezTo>
                  <a:pt x="4098742" y="6208910"/>
                  <a:pt x="4147449" y="6208274"/>
                  <a:pt x="4164456" y="6219291"/>
                </a:cubicBezTo>
                <a:cubicBezTo>
                  <a:pt x="4178470" y="6216298"/>
                  <a:pt x="4202823" y="6215980"/>
                  <a:pt x="4208491" y="6219652"/>
                </a:cubicBezTo>
                <a:cubicBezTo>
                  <a:pt x="4220508" y="6207318"/>
                  <a:pt x="4273885" y="6205681"/>
                  <a:pt x="4280553" y="6214026"/>
                </a:cubicBezTo>
                <a:cubicBezTo>
                  <a:pt x="4285225" y="6213027"/>
                  <a:pt x="4294565" y="6211031"/>
                  <a:pt x="4299237" y="6210033"/>
                </a:cubicBezTo>
                <a:cubicBezTo>
                  <a:pt x="4302232" y="6224047"/>
                  <a:pt x="4342273" y="6205722"/>
                  <a:pt x="4376966" y="6208079"/>
                </a:cubicBezTo>
                <a:cubicBezTo>
                  <a:pt x="4381639" y="6207082"/>
                  <a:pt x="4381639" y="6207082"/>
                  <a:pt x="4381639" y="6207082"/>
                </a:cubicBezTo>
                <a:cubicBezTo>
                  <a:pt x="4381639" y="6207082"/>
                  <a:pt x="4382636" y="6211752"/>
                  <a:pt x="4382636" y="6211752"/>
                </a:cubicBezTo>
                <a:cubicBezTo>
                  <a:pt x="4387307" y="6210754"/>
                  <a:pt x="4387307" y="6210754"/>
                  <a:pt x="4391979" y="6209755"/>
                </a:cubicBezTo>
                <a:cubicBezTo>
                  <a:pt x="4391979" y="6209755"/>
                  <a:pt x="4391979" y="6209755"/>
                  <a:pt x="4390980" y="6205086"/>
                </a:cubicBezTo>
                <a:cubicBezTo>
                  <a:pt x="4390980" y="6205086"/>
                  <a:pt x="4386310" y="6206084"/>
                  <a:pt x="4386310" y="6206084"/>
                </a:cubicBezTo>
                <a:cubicBezTo>
                  <a:pt x="4395651" y="6204087"/>
                  <a:pt x="4409664" y="6201093"/>
                  <a:pt x="4408667" y="6196422"/>
                </a:cubicBezTo>
                <a:cubicBezTo>
                  <a:pt x="4490071" y="6188798"/>
                  <a:pt x="4570475" y="6176505"/>
                  <a:pt x="4653556" y="6153870"/>
                </a:cubicBezTo>
                <a:cubicBezTo>
                  <a:pt x="4685257" y="6142215"/>
                  <a:pt x="4708611" y="6137225"/>
                  <a:pt x="4745978" y="6129242"/>
                </a:cubicBezTo>
                <a:cubicBezTo>
                  <a:pt x="4787019" y="6115589"/>
                  <a:pt x="4845748" y="6093274"/>
                  <a:pt x="4900802" y="6076627"/>
                </a:cubicBezTo>
                <a:cubicBezTo>
                  <a:pt x="4959529" y="6054313"/>
                  <a:pt x="5013586" y="6032994"/>
                  <a:pt x="5058301" y="6013674"/>
                </a:cubicBezTo>
                <a:cubicBezTo>
                  <a:pt x="5094672" y="6001018"/>
                  <a:pt x="5112357" y="5992356"/>
                  <a:pt x="5152401" y="5974033"/>
                </a:cubicBezTo>
                <a:cubicBezTo>
                  <a:pt x="5160745" y="5967365"/>
                  <a:pt x="5174758" y="5964372"/>
                  <a:pt x="5184101" y="5962374"/>
                </a:cubicBezTo>
                <a:cubicBezTo>
                  <a:pt x="5206457" y="5952716"/>
                  <a:pt x="5222147" y="5934711"/>
                  <a:pt x="5245504" y="5929720"/>
                </a:cubicBezTo>
                <a:cubicBezTo>
                  <a:pt x="5245504" y="5929720"/>
                  <a:pt x="5246501" y="5934392"/>
                  <a:pt x="5246501" y="5934392"/>
                </a:cubicBezTo>
                <a:cubicBezTo>
                  <a:pt x="5241830" y="5935389"/>
                  <a:pt x="5247499" y="5939063"/>
                  <a:pt x="5251173" y="5933393"/>
                </a:cubicBezTo>
                <a:cubicBezTo>
                  <a:pt x="5255843" y="5932396"/>
                  <a:pt x="5260514" y="5931398"/>
                  <a:pt x="5260514" y="5931398"/>
                </a:cubicBezTo>
                <a:cubicBezTo>
                  <a:pt x="5259517" y="5926727"/>
                  <a:pt x="5264188" y="5925730"/>
                  <a:pt x="5264188" y="5925730"/>
                </a:cubicBezTo>
                <a:cubicBezTo>
                  <a:pt x="5265185" y="5930400"/>
                  <a:pt x="5269857" y="5929401"/>
                  <a:pt x="5274527" y="5928403"/>
                </a:cubicBezTo>
                <a:cubicBezTo>
                  <a:pt x="5278201" y="5922735"/>
                  <a:pt x="5273529" y="5923733"/>
                  <a:pt x="5272531" y="5919062"/>
                </a:cubicBezTo>
                <a:cubicBezTo>
                  <a:pt x="5272531" y="5919062"/>
                  <a:pt x="5277203" y="5918063"/>
                  <a:pt x="5277203" y="5918063"/>
                </a:cubicBezTo>
                <a:cubicBezTo>
                  <a:pt x="5281873" y="5917066"/>
                  <a:pt x="5285546" y="5911397"/>
                  <a:pt x="5285546" y="5911397"/>
                </a:cubicBezTo>
                <a:cubicBezTo>
                  <a:pt x="5284549" y="5906727"/>
                  <a:pt x="5279879" y="5907725"/>
                  <a:pt x="5275207" y="5908722"/>
                </a:cubicBezTo>
                <a:cubicBezTo>
                  <a:pt x="5276205" y="5913393"/>
                  <a:pt x="5276205" y="5913393"/>
                  <a:pt x="5276205" y="5913393"/>
                </a:cubicBezTo>
                <a:cubicBezTo>
                  <a:pt x="5270536" y="5909721"/>
                  <a:pt x="5270536" y="5909721"/>
                  <a:pt x="5270536" y="5909721"/>
                </a:cubicBezTo>
                <a:cubicBezTo>
                  <a:pt x="5306907" y="5897065"/>
                  <a:pt x="5359965" y="5871077"/>
                  <a:pt x="5379329" y="5847404"/>
                </a:cubicBezTo>
                <a:cubicBezTo>
                  <a:pt x="5419372" y="5829081"/>
                  <a:pt x="5475105" y="5792750"/>
                  <a:pt x="5542857" y="5744086"/>
                </a:cubicBezTo>
                <a:cubicBezTo>
                  <a:pt x="5543855" y="5748759"/>
                  <a:pt x="5543855" y="5748759"/>
                  <a:pt x="5543855" y="5748759"/>
                </a:cubicBezTo>
                <a:cubicBezTo>
                  <a:pt x="5543855" y="5748759"/>
                  <a:pt x="5539183" y="5749756"/>
                  <a:pt x="5539183" y="5749756"/>
                </a:cubicBezTo>
                <a:cubicBezTo>
                  <a:pt x="5535510" y="5755425"/>
                  <a:pt x="5530840" y="5756424"/>
                  <a:pt x="5536507" y="5760095"/>
                </a:cubicBezTo>
                <a:cubicBezTo>
                  <a:pt x="5536507" y="5760095"/>
                  <a:pt x="5541179" y="5759098"/>
                  <a:pt x="5544853" y="5753429"/>
                </a:cubicBezTo>
                <a:cubicBezTo>
                  <a:pt x="5549523" y="5752432"/>
                  <a:pt x="5549523" y="5752432"/>
                  <a:pt x="5553195" y="5746762"/>
                </a:cubicBezTo>
                <a:cubicBezTo>
                  <a:pt x="5554194" y="5751434"/>
                  <a:pt x="5558865" y="5750436"/>
                  <a:pt x="5568208" y="5748439"/>
                </a:cubicBezTo>
                <a:cubicBezTo>
                  <a:pt x="5567709" y="5746105"/>
                  <a:pt x="5567209" y="5743768"/>
                  <a:pt x="5565793" y="5742849"/>
                </a:cubicBezTo>
                <a:lnTo>
                  <a:pt x="5563150" y="5743821"/>
                </a:lnTo>
                <a:lnTo>
                  <a:pt x="5569884" y="5733428"/>
                </a:lnTo>
                <a:cubicBezTo>
                  <a:pt x="5565213" y="5734427"/>
                  <a:pt x="5560543" y="5735424"/>
                  <a:pt x="5555871" y="5736423"/>
                </a:cubicBezTo>
                <a:cubicBezTo>
                  <a:pt x="5566891" y="5719416"/>
                  <a:pt x="5574237" y="5708077"/>
                  <a:pt x="5595597" y="5693746"/>
                </a:cubicBezTo>
                <a:cubicBezTo>
                  <a:pt x="5591923" y="5699415"/>
                  <a:pt x="5596594" y="5698416"/>
                  <a:pt x="5601265" y="5697419"/>
                </a:cubicBezTo>
                <a:cubicBezTo>
                  <a:pt x="5622624" y="5683088"/>
                  <a:pt x="5640990" y="5654743"/>
                  <a:pt x="5654005" y="5647078"/>
                </a:cubicBezTo>
                <a:cubicBezTo>
                  <a:pt x="5654005" y="5647078"/>
                  <a:pt x="5655003" y="5651750"/>
                  <a:pt x="5650333" y="5652747"/>
                </a:cubicBezTo>
                <a:cubicBezTo>
                  <a:pt x="5680037" y="5631749"/>
                  <a:pt x="5698401" y="5603403"/>
                  <a:pt x="5713411" y="5605080"/>
                </a:cubicBezTo>
                <a:cubicBezTo>
                  <a:pt x="5708741" y="5606079"/>
                  <a:pt x="5712413" y="5600409"/>
                  <a:pt x="5717085" y="5599412"/>
                </a:cubicBezTo>
                <a:cubicBezTo>
                  <a:pt x="5723434" y="5583402"/>
                  <a:pt x="5703073" y="5602405"/>
                  <a:pt x="5698401" y="5603403"/>
                </a:cubicBezTo>
                <a:cubicBezTo>
                  <a:pt x="5723434" y="5583402"/>
                  <a:pt x="5732775" y="5581407"/>
                  <a:pt x="5739123" y="5565397"/>
                </a:cubicBezTo>
                <a:cubicBezTo>
                  <a:pt x="5744793" y="5569071"/>
                  <a:pt x="5737447" y="5580410"/>
                  <a:pt x="5749465" y="5568074"/>
                </a:cubicBezTo>
                <a:cubicBezTo>
                  <a:pt x="5752140" y="5557732"/>
                  <a:pt x="5748466" y="5563402"/>
                  <a:pt x="5755813" y="5552065"/>
                </a:cubicBezTo>
                <a:cubicBezTo>
                  <a:pt x="5754813" y="5547394"/>
                  <a:pt x="5759485" y="5546395"/>
                  <a:pt x="5759485" y="5546395"/>
                </a:cubicBezTo>
                <a:cubicBezTo>
                  <a:pt x="5763159" y="5540726"/>
                  <a:pt x="5767829" y="5539729"/>
                  <a:pt x="5766831" y="5535057"/>
                </a:cubicBezTo>
                <a:cubicBezTo>
                  <a:pt x="5765834" y="5530386"/>
                  <a:pt x="5761163" y="5531383"/>
                  <a:pt x="5757489" y="5537052"/>
                </a:cubicBezTo>
                <a:cubicBezTo>
                  <a:pt x="5757489" y="5537052"/>
                  <a:pt x="5757489" y="5537052"/>
                  <a:pt x="5752817" y="5538051"/>
                </a:cubicBezTo>
                <a:cubicBezTo>
                  <a:pt x="5789869" y="5505714"/>
                  <a:pt x="5796216" y="5489707"/>
                  <a:pt x="5840612" y="5446031"/>
                </a:cubicBezTo>
                <a:cubicBezTo>
                  <a:pt x="5861292" y="5451381"/>
                  <a:pt x="5844285" y="5440361"/>
                  <a:pt x="5875984" y="5428705"/>
                </a:cubicBezTo>
                <a:cubicBezTo>
                  <a:pt x="5876981" y="5433377"/>
                  <a:pt x="5876981" y="5433377"/>
                  <a:pt x="5876981" y="5433377"/>
                </a:cubicBezTo>
                <a:cubicBezTo>
                  <a:pt x="5873309" y="5439045"/>
                  <a:pt x="5877980" y="5438048"/>
                  <a:pt x="5881654" y="5432378"/>
                </a:cubicBezTo>
                <a:cubicBezTo>
                  <a:pt x="5886325" y="5431380"/>
                  <a:pt x="5889997" y="5425712"/>
                  <a:pt x="5888999" y="5421040"/>
                </a:cubicBezTo>
                <a:cubicBezTo>
                  <a:pt x="5892673" y="5415372"/>
                  <a:pt x="5892673" y="5415372"/>
                  <a:pt x="5892673" y="5415372"/>
                </a:cubicBezTo>
                <a:cubicBezTo>
                  <a:pt x="5901015" y="5408706"/>
                  <a:pt x="5900018" y="5404034"/>
                  <a:pt x="5894349" y="5400360"/>
                </a:cubicBezTo>
                <a:cubicBezTo>
                  <a:pt x="5903692" y="5398364"/>
                  <a:pt x="5906367" y="5388024"/>
                  <a:pt x="5910040" y="5382356"/>
                </a:cubicBezTo>
                <a:cubicBezTo>
                  <a:pt x="5901696" y="5389023"/>
                  <a:pt x="5893352" y="5395689"/>
                  <a:pt x="5885009" y="5402357"/>
                </a:cubicBezTo>
                <a:cubicBezTo>
                  <a:pt x="5886005" y="5407028"/>
                  <a:pt x="5887003" y="5411699"/>
                  <a:pt x="5887003" y="5411699"/>
                </a:cubicBezTo>
                <a:cubicBezTo>
                  <a:pt x="5887003" y="5411699"/>
                  <a:pt x="5882333" y="5412697"/>
                  <a:pt x="5883331" y="5417368"/>
                </a:cubicBezTo>
                <a:cubicBezTo>
                  <a:pt x="5883331" y="5417368"/>
                  <a:pt x="5878661" y="5418365"/>
                  <a:pt x="5878661" y="5418365"/>
                </a:cubicBezTo>
                <a:cubicBezTo>
                  <a:pt x="5873988" y="5419363"/>
                  <a:pt x="5874987" y="5424035"/>
                  <a:pt x="5875984" y="5428705"/>
                </a:cubicBezTo>
                <a:cubicBezTo>
                  <a:pt x="5850633" y="5424354"/>
                  <a:pt x="5823605" y="5435012"/>
                  <a:pt x="5797893" y="5474694"/>
                </a:cubicBezTo>
                <a:cubicBezTo>
                  <a:pt x="5793223" y="5475693"/>
                  <a:pt x="5789550" y="5481361"/>
                  <a:pt x="5788553" y="5476691"/>
                </a:cubicBezTo>
                <a:cubicBezTo>
                  <a:pt x="5793223" y="5475693"/>
                  <a:pt x="5792224" y="5471021"/>
                  <a:pt x="5787554" y="5472019"/>
                </a:cubicBezTo>
                <a:cubicBezTo>
                  <a:pt x="5787554" y="5472019"/>
                  <a:pt x="5787554" y="5472019"/>
                  <a:pt x="5783880" y="5477689"/>
                </a:cubicBezTo>
                <a:cubicBezTo>
                  <a:pt x="5783880" y="5477689"/>
                  <a:pt x="5779209" y="5478686"/>
                  <a:pt x="5779209" y="5478686"/>
                </a:cubicBezTo>
                <a:cubicBezTo>
                  <a:pt x="5787893" y="5462179"/>
                  <a:pt x="5797326" y="5449175"/>
                  <a:pt x="5809467" y="5437421"/>
                </a:cubicBezTo>
                <a:lnTo>
                  <a:pt x="5851753" y="5406742"/>
                </a:lnTo>
                <a:lnTo>
                  <a:pt x="5852311" y="5409342"/>
                </a:lnTo>
                <a:cubicBezTo>
                  <a:pt x="5856982" y="5408343"/>
                  <a:pt x="5856982" y="5408343"/>
                  <a:pt x="5855983" y="5403674"/>
                </a:cubicBezTo>
                <a:cubicBezTo>
                  <a:pt x="5865325" y="5401676"/>
                  <a:pt x="5864329" y="5397006"/>
                  <a:pt x="5872672" y="5390339"/>
                </a:cubicBezTo>
                <a:cubicBezTo>
                  <a:pt x="5872672" y="5390339"/>
                  <a:pt x="5873671" y="5395010"/>
                  <a:pt x="5868998" y="5396009"/>
                </a:cubicBezTo>
                <a:cubicBezTo>
                  <a:pt x="5868998" y="5396009"/>
                  <a:pt x="5873671" y="5395010"/>
                  <a:pt x="5873671" y="5395010"/>
                </a:cubicBezTo>
                <a:cubicBezTo>
                  <a:pt x="5873671" y="5395010"/>
                  <a:pt x="5877343" y="5389341"/>
                  <a:pt x="5877343" y="5389341"/>
                </a:cubicBezTo>
                <a:cubicBezTo>
                  <a:pt x="5902375" y="5369340"/>
                  <a:pt x="5925731" y="5364351"/>
                  <a:pt x="5944096" y="5336008"/>
                </a:cubicBezTo>
                <a:cubicBezTo>
                  <a:pt x="5936751" y="5347345"/>
                  <a:pt x="5945093" y="5340677"/>
                  <a:pt x="5954436" y="5338681"/>
                </a:cubicBezTo>
                <a:cubicBezTo>
                  <a:pt x="5943417" y="5355687"/>
                  <a:pt x="5929403" y="5358682"/>
                  <a:pt x="5936071" y="5367026"/>
                </a:cubicBezTo>
                <a:cubicBezTo>
                  <a:pt x="5959106" y="5337683"/>
                  <a:pt x="5974798" y="5319679"/>
                  <a:pt x="6011847" y="5287342"/>
                </a:cubicBezTo>
                <a:cubicBezTo>
                  <a:pt x="6012845" y="5292014"/>
                  <a:pt x="6016519" y="5286345"/>
                  <a:pt x="6021190" y="5285346"/>
                </a:cubicBezTo>
                <a:cubicBezTo>
                  <a:pt x="6024863" y="5279677"/>
                  <a:pt x="6028537" y="5274009"/>
                  <a:pt x="6023863" y="5275006"/>
                </a:cubicBezTo>
                <a:cubicBezTo>
                  <a:pt x="6032207" y="5268340"/>
                  <a:pt x="6034884" y="5257999"/>
                  <a:pt x="6041233" y="5241991"/>
                </a:cubicBezTo>
                <a:cubicBezTo>
                  <a:pt x="6046901" y="5245664"/>
                  <a:pt x="6039554" y="5257001"/>
                  <a:pt x="6047899" y="5250335"/>
                </a:cubicBezTo>
                <a:cubicBezTo>
                  <a:pt x="6046901" y="5245664"/>
                  <a:pt x="6055246" y="5238997"/>
                  <a:pt x="6054247" y="5234325"/>
                </a:cubicBezTo>
                <a:cubicBezTo>
                  <a:pt x="6054247" y="5234325"/>
                  <a:pt x="6058919" y="5233328"/>
                  <a:pt x="6057920" y="5228658"/>
                </a:cubicBezTo>
                <a:cubicBezTo>
                  <a:pt x="6062591" y="5227659"/>
                  <a:pt x="6062591" y="5227659"/>
                  <a:pt x="6062591" y="5227659"/>
                </a:cubicBezTo>
                <a:cubicBezTo>
                  <a:pt x="6061593" y="5222988"/>
                  <a:pt x="6061593" y="5222988"/>
                  <a:pt x="6061593" y="5222988"/>
                </a:cubicBezTo>
                <a:cubicBezTo>
                  <a:pt x="6057920" y="5228658"/>
                  <a:pt x="6057920" y="5228658"/>
                  <a:pt x="6057920" y="5228658"/>
                </a:cubicBezTo>
                <a:cubicBezTo>
                  <a:pt x="6053250" y="5229655"/>
                  <a:pt x="6053250" y="5229655"/>
                  <a:pt x="6053250" y="5229655"/>
                </a:cubicBezTo>
                <a:cubicBezTo>
                  <a:pt x="6068941" y="5211651"/>
                  <a:pt x="6068941" y="5211651"/>
                  <a:pt x="6068941" y="5211651"/>
                </a:cubicBezTo>
                <a:cubicBezTo>
                  <a:pt x="6065267" y="5217319"/>
                  <a:pt x="6066265" y="5221991"/>
                  <a:pt x="6069937" y="5216321"/>
                </a:cubicBezTo>
                <a:cubicBezTo>
                  <a:pt x="6103993" y="5169972"/>
                  <a:pt x="6125712" y="5111605"/>
                  <a:pt x="6153103" y="5056910"/>
                </a:cubicBezTo>
                <a:cubicBezTo>
                  <a:pt x="6174822" y="4998546"/>
                  <a:pt x="6197539" y="4944849"/>
                  <a:pt x="6220259" y="4891153"/>
                </a:cubicBezTo>
                <a:cubicBezTo>
                  <a:pt x="6229601" y="4889157"/>
                  <a:pt x="6230598" y="4893829"/>
                  <a:pt x="6232593" y="4903170"/>
                </a:cubicBezTo>
                <a:cubicBezTo>
                  <a:pt x="6246968" y="4856141"/>
                  <a:pt x="6259665" y="4824124"/>
                  <a:pt x="6266691" y="4788433"/>
                </a:cubicBezTo>
                <a:cubicBezTo>
                  <a:pt x="6272541" y="4770088"/>
                  <a:pt x="6277222" y="4751993"/>
                  <a:pt x="6282822" y="4732481"/>
                </a:cubicBezTo>
                <a:lnTo>
                  <a:pt x="6302855" y="4672815"/>
                </a:lnTo>
                <a:lnTo>
                  <a:pt x="6305460" y="4672697"/>
                </a:lnTo>
                <a:cubicBezTo>
                  <a:pt x="6305460" y="4672697"/>
                  <a:pt x="6310131" y="4671699"/>
                  <a:pt x="6313804" y="4666031"/>
                </a:cubicBezTo>
                <a:cubicBezTo>
                  <a:pt x="6318475" y="4665033"/>
                  <a:pt x="6318475" y="4665033"/>
                  <a:pt x="6318475" y="4665033"/>
                </a:cubicBezTo>
                <a:cubicBezTo>
                  <a:pt x="6321151" y="4654692"/>
                  <a:pt x="6328497" y="4643354"/>
                  <a:pt x="6322827" y="4639682"/>
                </a:cubicBezTo>
                <a:cubicBezTo>
                  <a:pt x="6327499" y="4638683"/>
                  <a:pt x="6331173" y="4633014"/>
                  <a:pt x="6330175" y="4628345"/>
                </a:cubicBezTo>
                <a:cubicBezTo>
                  <a:pt x="6333847" y="4622674"/>
                  <a:pt x="6329177" y="4623672"/>
                  <a:pt x="6329177" y="4623672"/>
                </a:cubicBezTo>
                <a:cubicBezTo>
                  <a:pt x="6324505" y="4624671"/>
                  <a:pt x="6324505" y="4624671"/>
                  <a:pt x="6324505" y="4624671"/>
                </a:cubicBezTo>
                <a:cubicBezTo>
                  <a:pt x="6338199" y="4597325"/>
                  <a:pt x="6335206" y="4583312"/>
                  <a:pt x="6348900" y="4555965"/>
                </a:cubicBezTo>
                <a:cubicBezTo>
                  <a:pt x="6334887" y="4558958"/>
                  <a:pt x="6346904" y="4546622"/>
                  <a:pt x="6345907" y="4541951"/>
                </a:cubicBezTo>
                <a:cubicBezTo>
                  <a:pt x="6339557" y="4557959"/>
                  <a:pt x="6337561" y="4548618"/>
                  <a:pt x="6330216" y="4559955"/>
                </a:cubicBezTo>
                <a:cubicBezTo>
                  <a:pt x="6327541" y="4570295"/>
                  <a:pt x="6338559" y="4553288"/>
                  <a:pt x="6336883" y="4568299"/>
                </a:cubicBezTo>
                <a:cubicBezTo>
                  <a:pt x="6324866" y="4580635"/>
                  <a:pt x="6323189" y="4595647"/>
                  <a:pt x="6314844" y="4602314"/>
                </a:cubicBezTo>
                <a:cubicBezTo>
                  <a:pt x="6318517" y="4596645"/>
                  <a:pt x="6322191" y="4590975"/>
                  <a:pt x="6321192" y="4586304"/>
                </a:cubicBezTo>
                <a:cubicBezTo>
                  <a:pt x="6307497" y="4613651"/>
                  <a:pt x="6290131" y="4646668"/>
                  <a:pt x="6273761" y="4684354"/>
                </a:cubicBezTo>
                <a:cubicBezTo>
                  <a:pt x="6257391" y="4722041"/>
                  <a:pt x="6241021" y="4759728"/>
                  <a:pt x="6228327" y="4791746"/>
                </a:cubicBezTo>
                <a:cubicBezTo>
                  <a:pt x="6227328" y="4787073"/>
                  <a:pt x="6222657" y="4788072"/>
                  <a:pt x="6218983" y="4793740"/>
                </a:cubicBezTo>
                <a:cubicBezTo>
                  <a:pt x="6201617" y="4826756"/>
                  <a:pt x="6187921" y="4854104"/>
                  <a:pt x="6164885" y="4883446"/>
                </a:cubicBezTo>
                <a:cubicBezTo>
                  <a:pt x="6171551" y="4891790"/>
                  <a:pt x="6150193" y="4906124"/>
                  <a:pt x="6142846" y="4917459"/>
                </a:cubicBezTo>
                <a:cubicBezTo>
                  <a:pt x="6139172" y="4923130"/>
                  <a:pt x="6144842" y="4926804"/>
                  <a:pt x="6136497" y="4933470"/>
                </a:cubicBezTo>
                <a:cubicBezTo>
                  <a:pt x="6137495" y="4938141"/>
                  <a:pt x="6124481" y="4945806"/>
                  <a:pt x="6117135" y="4957143"/>
                </a:cubicBezTo>
                <a:cubicBezTo>
                  <a:pt x="6106115" y="4974149"/>
                  <a:pt x="6096093" y="4995828"/>
                  <a:pt x="6085074" y="5012834"/>
                </a:cubicBezTo>
                <a:cubicBezTo>
                  <a:pt x="6070383" y="5035511"/>
                  <a:pt x="6071379" y="5040181"/>
                  <a:pt x="6052017" y="5063855"/>
                </a:cubicBezTo>
                <a:cubicBezTo>
                  <a:pt x="6019957" y="5119547"/>
                  <a:pt x="5963543" y="5175556"/>
                  <a:pt x="5949849" y="5202903"/>
                </a:cubicBezTo>
                <a:cubicBezTo>
                  <a:pt x="5935836" y="5205898"/>
                  <a:pt x="5926811" y="5232245"/>
                  <a:pt x="5919467" y="5243586"/>
                </a:cubicBezTo>
                <a:cubicBezTo>
                  <a:pt x="5922141" y="5233244"/>
                  <a:pt x="5918469" y="5238913"/>
                  <a:pt x="5913797" y="5239912"/>
                </a:cubicBezTo>
                <a:cubicBezTo>
                  <a:pt x="5888085" y="5279594"/>
                  <a:pt x="5840696" y="5309255"/>
                  <a:pt x="5798296" y="5362272"/>
                </a:cubicBezTo>
                <a:cubicBezTo>
                  <a:pt x="5783605" y="5384947"/>
                  <a:pt x="5795621" y="5372612"/>
                  <a:pt x="5770589" y="5392612"/>
                </a:cubicBezTo>
                <a:cubicBezTo>
                  <a:pt x="5753900" y="5405947"/>
                  <a:pt x="5742883" y="5422953"/>
                  <a:pt x="5726193" y="5436286"/>
                </a:cubicBezTo>
                <a:cubicBezTo>
                  <a:pt x="5668782" y="5487625"/>
                  <a:pt x="5610372" y="5534294"/>
                  <a:pt x="5560309" y="5574296"/>
                </a:cubicBezTo>
                <a:cubicBezTo>
                  <a:pt x="5539947" y="5593298"/>
                  <a:pt x="5522261" y="5601962"/>
                  <a:pt x="5511241" y="5618968"/>
                </a:cubicBezTo>
                <a:cubicBezTo>
                  <a:pt x="5506569" y="5619967"/>
                  <a:pt x="5506569" y="5619967"/>
                  <a:pt x="5501899" y="5620964"/>
                </a:cubicBezTo>
                <a:cubicBezTo>
                  <a:pt x="5497229" y="5621963"/>
                  <a:pt x="5483216" y="5624956"/>
                  <a:pt x="5462853" y="5643958"/>
                </a:cubicBezTo>
                <a:cubicBezTo>
                  <a:pt x="5454509" y="5650624"/>
                  <a:pt x="5442491" y="5662962"/>
                  <a:pt x="5434147" y="5669628"/>
                </a:cubicBezTo>
                <a:cubicBezTo>
                  <a:pt x="5395101" y="5692624"/>
                  <a:pt x="5346715" y="5717613"/>
                  <a:pt x="5335695" y="5734620"/>
                </a:cubicBezTo>
                <a:cubicBezTo>
                  <a:pt x="5342043" y="5718611"/>
                  <a:pt x="5291979" y="5758613"/>
                  <a:pt x="5279961" y="5770948"/>
                </a:cubicBezTo>
                <a:cubicBezTo>
                  <a:pt x="5260279" y="5770269"/>
                  <a:pt x="5232571" y="5800610"/>
                  <a:pt x="5196201" y="5813264"/>
                </a:cubicBezTo>
                <a:cubicBezTo>
                  <a:pt x="5191531" y="5814263"/>
                  <a:pt x="5198197" y="5822607"/>
                  <a:pt x="5184185" y="5825600"/>
                </a:cubicBezTo>
                <a:cubicBezTo>
                  <a:pt x="5173845" y="5822925"/>
                  <a:pt x="5143143" y="5839253"/>
                  <a:pt x="5148811" y="5842926"/>
                </a:cubicBezTo>
                <a:cubicBezTo>
                  <a:pt x="5132803" y="5836578"/>
                  <a:pt x="5108769" y="5861249"/>
                  <a:pt x="5098429" y="5858574"/>
                </a:cubicBezTo>
                <a:cubicBezTo>
                  <a:pt x="5100425" y="5867915"/>
                  <a:pt x="5096752" y="5873584"/>
                  <a:pt x="5093078" y="5879254"/>
                </a:cubicBezTo>
                <a:cubicBezTo>
                  <a:pt x="5084733" y="5885921"/>
                  <a:pt x="5080063" y="5886918"/>
                  <a:pt x="5071717" y="5893584"/>
                </a:cubicBezTo>
                <a:cubicBezTo>
                  <a:pt x="5041017" y="5909914"/>
                  <a:pt x="4999977" y="5923566"/>
                  <a:pt x="4963607" y="5936220"/>
                </a:cubicBezTo>
                <a:cubicBezTo>
                  <a:pt x="4954263" y="5938216"/>
                  <a:pt x="4943924" y="5935541"/>
                  <a:pt x="4943924" y="5935541"/>
                </a:cubicBezTo>
                <a:cubicBezTo>
                  <a:pt x="4940250" y="5941210"/>
                  <a:pt x="4935579" y="5942209"/>
                  <a:pt x="4931907" y="5947877"/>
                </a:cubicBezTo>
                <a:cubicBezTo>
                  <a:pt x="4927236" y="5948876"/>
                  <a:pt x="4927236" y="5948876"/>
                  <a:pt x="4927236" y="5948876"/>
                </a:cubicBezTo>
                <a:cubicBezTo>
                  <a:pt x="4892542" y="5946518"/>
                  <a:pt x="4848827" y="5970511"/>
                  <a:pt x="4813453" y="5987836"/>
                </a:cubicBezTo>
                <a:cubicBezTo>
                  <a:pt x="4812455" y="5983165"/>
                  <a:pt x="4812455" y="5983165"/>
                  <a:pt x="4812455" y="5983165"/>
                </a:cubicBezTo>
                <a:cubicBezTo>
                  <a:pt x="4797445" y="5981489"/>
                  <a:pt x="4796766" y="6001171"/>
                  <a:pt x="4789099" y="5988156"/>
                </a:cubicBezTo>
                <a:cubicBezTo>
                  <a:pt x="4765746" y="5993144"/>
                  <a:pt x="4781755" y="5999492"/>
                  <a:pt x="4763071" y="6003484"/>
                </a:cubicBezTo>
                <a:cubicBezTo>
                  <a:pt x="4762072" y="5998814"/>
                  <a:pt x="4752731" y="6000810"/>
                  <a:pt x="4747061" y="5997136"/>
                </a:cubicBezTo>
                <a:cubicBezTo>
                  <a:pt x="4730373" y="6010470"/>
                  <a:pt x="4711689" y="6014462"/>
                  <a:pt x="4687335" y="6014782"/>
                </a:cubicBezTo>
                <a:cubicBezTo>
                  <a:pt x="4680987" y="6030790"/>
                  <a:pt x="4650965" y="6027436"/>
                  <a:pt x="4642621" y="6034102"/>
                </a:cubicBezTo>
                <a:cubicBezTo>
                  <a:pt x="4641623" y="6029431"/>
                  <a:pt x="4636952" y="6030429"/>
                  <a:pt x="4636952" y="6030429"/>
                </a:cubicBezTo>
                <a:cubicBezTo>
                  <a:pt x="4610921" y="6045759"/>
                  <a:pt x="4586569" y="6046077"/>
                  <a:pt x="4563214" y="6051067"/>
                </a:cubicBezTo>
                <a:cubicBezTo>
                  <a:pt x="4558541" y="6052066"/>
                  <a:pt x="4553871" y="6053063"/>
                  <a:pt x="4553871" y="6053063"/>
                </a:cubicBezTo>
                <a:cubicBezTo>
                  <a:pt x="4552873" y="6048393"/>
                  <a:pt x="4552873" y="6048393"/>
                  <a:pt x="4552873" y="6048393"/>
                </a:cubicBezTo>
                <a:cubicBezTo>
                  <a:pt x="4551875" y="6043722"/>
                  <a:pt x="4547205" y="6044719"/>
                  <a:pt x="4547205" y="6044719"/>
                </a:cubicBezTo>
                <a:cubicBezTo>
                  <a:pt x="4542534" y="6045718"/>
                  <a:pt x="4543531" y="6050388"/>
                  <a:pt x="4543531" y="6050388"/>
                </a:cubicBezTo>
                <a:cubicBezTo>
                  <a:pt x="4528521" y="6048711"/>
                  <a:pt x="4517502" y="6065717"/>
                  <a:pt x="4494145" y="6070708"/>
                </a:cubicBezTo>
                <a:cubicBezTo>
                  <a:pt x="4511832" y="6062045"/>
                  <a:pt x="4481809" y="6058690"/>
                  <a:pt x="4478137" y="6064359"/>
                </a:cubicBezTo>
                <a:cubicBezTo>
                  <a:pt x="4487478" y="6062363"/>
                  <a:pt x="4488477" y="6067034"/>
                  <a:pt x="4479134" y="6069030"/>
                </a:cubicBezTo>
                <a:cubicBezTo>
                  <a:pt x="4482808" y="6063362"/>
                  <a:pt x="4464125" y="6067353"/>
                  <a:pt x="4459453" y="6068351"/>
                </a:cubicBezTo>
                <a:cubicBezTo>
                  <a:pt x="4461447" y="6077694"/>
                  <a:pt x="4450111" y="6070346"/>
                  <a:pt x="4432425" y="6079010"/>
                </a:cubicBezTo>
                <a:cubicBezTo>
                  <a:pt x="4444441" y="6066673"/>
                  <a:pt x="4417414" y="6077333"/>
                  <a:pt x="4404399" y="6084998"/>
                </a:cubicBezTo>
                <a:cubicBezTo>
                  <a:pt x="4399727" y="6085995"/>
                  <a:pt x="4399727" y="6085995"/>
                  <a:pt x="4394059" y="6082323"/>
                </a:cubicBezTo>
                <a:cubicBezTo>
                  <a:pt x="4389386" y="6083320"/>
                  <a:pt x="4384716" y="6084319"/>
                  <a:pt x="4379047" y="6080645"/>
                </a:cubicBezTo>
                <a:cubicBezTo>
                  <a:pt x="4379047" y="6080645"/>
                  <a:pt x="4374376" y="6081644"/>
                  <a:pt x="4374376" y="6081644"/>
                </a:cubicBezTo>
                <a:cubicBezTo>
                  <a:pt x="4345352" y="6082961"/>
                  <a:pt x="4318323" y="6093619"/>
                  <a:pt x="4292971" y="6089266"/>
                </a:cubicBezTo>
                <a:cubicBezTo>
                  <a:pt x="4266943" y="6104597"/>
                  <a:pt x="4215243" y="6091221"/>
                  <a:pt x="4193882" y="6105553"/>
                </a:cubicBezTo>
                <a:cubicBezTo>
                  <a:pt x="4189212" y="6106550"/>
                  <a:pt x="4189212" y="6106550"/>
                  <a:pt x="4184541" y="6107549"/>
                </a:cubicBezTo>
                <a:cubicBezTo>
                  <a:pt x="4183543" y="6102876"/>
                  <a:pt x="4183543" y="6102876"/>
                  <a:pt x="4178872" y="6103875"/>
                </a:cubicBezTo>
                <a:cubicBezTo>
                  <a:pt x="4178872" y="6103875"/>
                  <a:pt x="4174201" y="6104874"/>
                  <a:pt x="4174201" y="6104874"/>
                </a:cubicBezTo>
                <a:cubicBezTo>
                  <a:pt x="4168532" y="6101200"/>
                  <a:pt x="4149847" y="6105192"/>
                  <a:pt x="4146175" y="6110861"/>
                </a:cubicBezTo>
                <a:cubicBezTo>
                  <a:pt x="4146175" y="6110861"/>
                  <a:pt x="4141503" y="6111859"/>
                  <a:pt x="4141503" y="6111859"/>
                </a:cubicBezTo>
                <a:cubicBezTo>
                  <a:pt x="4135835" y="6108185"/>
                  <a:pt x="4135835" y="6108185"/>
                  <a:pt x="4135835" y="6108185"/>
                </a:cubicBezTo>
                <a:cubicBezTo>
                  <a:pt x="4131163" y="6109183"/>
                  <a:pt x="4131163" y="6109183"/>
                  <a:pt x="4131163" y="6109183"/>
                </a:cubicBezTo>
                <a:cubicBezTo>
                  <a:pt x="4117151" y="6112178"/>
                  <a:pt x="4102139" y="6110500"/>
                  <a:pt x="4092798" y="6112497"/>
                </a:cubicBezTo>
                <a:cubicBezTo>
                  <a:pt x="4092798" y="6112497"/>
                  <a:pt x="4087129" y="6108823"/>
                  <a:pt x="4082458" y="6109821"/>
                </a:cubicBezTo>
                <a:cubicBezTo>
                  <a:pt x="4083455" y="6114492"/>
                  <a:pt x="4058104" y="6110139"/>
                  <a:pt x="4052435" y="6106468"/>
                </a:cubicBezTo>
                <a:cubicBezTo>
                  <a:pt x="4053433" y="6111138"/>
                  <a:pt x="4053433" y="6111138"/>
                  <a:pt x="4053433" y="6111138"/>
                </a:cubicBezTo>
                <a:cubicBezTo>
                  <a:pt x="4048763" y="6112135"/>
                  <a:pt x="4048763" y="6112135"/>
                  <a:pt x="4043093" y="6108462"/>
                </a:cubicBezTo>
                <a:cubicBezTo>
                  <a:pt x="4050100" y="6106966"/>
                  <a:pt x="4051017" y="6105549"/>
                  <a:pt x="4049935" y="6103338"/>
                </a:cubicBezTo>
                <a:lnTo>
                  <a:pt x="4045742" y="6095312"/>
                </a:lnTo>
                <a:lnTo>
                  <a:pt x="4059782" y="6095129"/>
                </a:lnTo>
                <a:cubicBezTo>
                  <a:pt x="4093477" y="6092815"/>
                  <a:pt x="4160866" y="6088185"/>
                  <a:pt x="4208575" y="6082877"/>
                </a:cubicBezTo>
                <a:cubicBezTo>
                  <a:pt x="4337687" y="6069945"/>
                  <a:pt x="4461129" y="6053340"/>
                  <a:pt x="4574233" y="6034059"/>
                </a:cubicBezTo>
                <a:cubicBezTo>
                  <a:pt x="4590921" y="6020727"/>
                  <a:pt x="4639627" y="6020089"/>
                  <a:pt x="4653639" y="6017096"/>
                </a:cubicBezTo>
                <a:cubicBezTo>
                  <a:pt x="4653639" y="6017096"/>
                  <a:pt x="4661985" y="6010429"/>
                  <a:pt x="4666657" y="6009430"/>
                </a:cubicBezTo>
                <a:cubicBezTo>
                  <a:pt x="4666657" y="6009430"/>
                  <a:pt x="4666657" y="6009430"/>
                  <a:pt x="4671326" y="6008432"/>
                </a:cubicBezTo>
                <a:cubicBezTo>
                  <a:pt x="4671326" y="6008432"/>
                  <a:pt x="4671326" y="6008432"/>
                  <a:pt x="4680669" y="6006436"/>
                </a:cubicBezTo>
                <a:cubicBezTo>
                  <a:pt x="4707697" y="5995778"/>
                  <a:pt x="4741392" y="5993462"/>
                  <a:pt x="4777762" y="5980809"/>
                </a:cubicBezTo>
                <a:cubicBezTo>
                  <a:pt x="4810460" y="5973824"/>
                  <a:pt x="4872861" y="5945840"/>
                  <a:pt x="4917575" y="5926517"/>
                </a:cubicBezTo>
                <a:cubicBezTo>
                  <a:pt x="4957619" y="5908194"/>
                  <a:pt x="5003331" y="5893543"/>
                  <a:pt x="5024691" y="5879212"/>
                </a:cubicBezTo>
                <a:cubicBezTo>
                  <a:pt x="5042377" y="5870549"/>
                  <a:pt x="5031038" y="5863204"/>
                  <a:pt x="5063735" y="5856218"/>
                </a:cubicBezTo>
                <a:cubicBezTo>
                  <a:pt x="5064733" y="5860888"/>
                  <a:pt x="5069405" y="5859891"/>
                  <a:pt x="5078746" y="5857895"/>
                </a:cubicBezTo>
                <a:cubicBezTo>
                  <a:pt x="5082420" y="5852226"/>
                  <a:pt x="5081423" y="5847555"/>
                  <a:pt x="5094437" y="5839890"/>
                </a:cubicBezTo>
                <a:cubicBezTo>
                  <a:pt x="5103779" y="5837894"/>
                  <a:pt x="5117791" y="5834899"/>
                  <a:pt x="5130807" y="5827235"/>
                </a:cubicBezTo>
                <a:cubicBezTo>
                  <a:pt x="5174523" y="5803242"/>
                  <a:pt x="5227582" y="5777255"/>
                  <a:pt x="5253613" y="5761925"/>
                </a:cubicBezTo>
                <a:cubicBezTo>
                  <a:pt x="5266627" y="5754260"/>
                  <a:pt x="5265629" y="5749589"/>
                  <a:pt x="5273974" y="5742921"/>
                </a:cubicBezTo>
                <a:cubicBezTo>
                  <a:pt x="5310345" y="5730267"/>
                  <a:pt x="5356737" y="5695935"/>
                  <a:pt x="5398457" y="5662600"/>
                </a:cubicBezTo>
                <a:cubicBezTo>
                  <a:pt x="5441175" y="5633938"/>
                  <a:pt x="5478225" y="5601601"/>
                  <a:pt x="5508927" y="5585273"/>
                </a:cubicBezTo>
                <a:cubicBezTo>
                  <a:pt x="5503258" y="5581600"/>
                  <a:pt x="5507928" y="5580601"/>
                  <a:pt x="5516272" y="5573935"/>
                </a:cubicBezTo>
                <a:cubicBezTo>
                  <a:pt x="5512598" y="5579604"/>
                  <a:pt x="5513597" y="5584275"/>
                  <a:pt x="5517271" y="5578605"/>
                </a:cubicBezTo>
                <a:cubicBezTo>
                  <a:pt x="5520943" y="5572937"/>
                  <a:pt x="5576677" y="5536610"/>
                  <a:pt x="5566338" y="5533934"/>
                </a:cubicBezTo>
                <a:cubicBezTo>
                  <a:pt x="5586699" y="5514930"/>
                  <a:pt x="5597039" y="5517607"/>
                  <a:pt x="5597039" y="5517607"/>
                </a:cubicBezTo>
                <a:cubicBezTo>
                  <a:pt x="5612731" y="5499602"/>
                  <a:pt x="5596041" y="5512935"/>
                  <a:pt x="5590371" y="5509261"/>
                </a:cubicBezTo>
                <a:cubicBezTo>
                  <a:pt x="5610733" y="5490259"/>
                  <a:pt x="5610733" y="5490259"/>
                  <a:pt x="5610733" y="5490259"/>
                </a:cubicBezTo>
                <a:cubicBezTo>
                  <a:pt x="5604385" y="5506268"/>
                  <a:pt x="5621073" y="5492935"/>
                  <a:pt x="5625744" y="5491937"/>
                </a:cubicBezTo>
                <a:cubicBezTo>
                  <a:pt x="5639440" y="5464590"/>
                  <a:pt x="5687825" y="5439599"/>
                  <a:pt x="5718210" y="5398918"/>
                </a:cubicBezTo>
                <a:cubicBezTo>
                  <a:pt x="5722880" y="5397921"/>
                  <a:pt x="5721883" y="5393250"/>
                  <a:pt x="5726553" y="5392252"/>
                </a:cubicBezTo>
                <a:cubicBezTo>
                  <a:pt x="5731224" y="5391254"/>
                  <a:pt x="5730227" y="5386582"/>
                  <a:pt x="5730227" y="5386582"/>
                </a:cubicBezTo>
                <a:cubicBezTo>
                  <a:pt x="5733899" y="5380915"/>
                  <a:pt x="5729229" y="5381912"/>
                  <a:pt x="5725555" y="5387581"/>
                </a:cubicBezTo>
                <a:cubicBezTo>
                  <a:pt x="5725555" y="5387581"/>
                  <a:pt x="5725555" y="5387581"/>
                  <a:pt x="5720884" y="5388578"/>
                </a:cubicBezTo>
                <a:cubicBezTo>
                  <a:pt x="5760609" y="5345901"/>
                  <a:pt x="5786639" y="5330572"/>
                  <a:pt x="5821693" y="5288895"/>
                </a:cubicBezTo>
                <a:cubicBezTo>
                  <a:pt x="5827363" y="5292568"/>
                  <a:pt x="5831035" y="5286898"/>
                  <a:pt x="5836704" y="5290572"/>
                </a:cubicBezTo>
                <a:cubicBezTo>
                  <a:pt x="5883775" y="5236557"/>
                  <a:pt x="5935517" y="5181544"/>
                  <a:pt x="5981591" y="5122858"/>
                </a:cubicBezTo>
                <a:cubicBezTo>
                  <a:pt x="6032334" y="5063177"/>
                  <a:pt x="6077409" y="4999820"/>
                  <a:pt x="6118812" y="4942132"/>
                </a:cubicBezTo>
                <a:cubicBezTo>
                  <a:pt x="6104798" y="4945127"/>
                  <a:pt x="6093101" y="4981814"/>
                  <a:pt x="6076412" y="4995149"/>
                </a:cubicBezTo>
                <a:cubicBezTo>
                  <a:pt x="6077409" y="4999820"/>
                  <a:pt x="6068067" y="5001815"/>
                  <a:pt x="6063397" y="5002813"/>
                </a:cubicBezTo>
                <a:cubicBezTo>
                  <a:pt x="6036685" y="5037826"/>
                  <a:pt x="6002631" y="5084175"/>
                  <a:pt x="5966579" y="5121182"/>
                </a:cubicBezTo>
                <a:cubicBezTo>
                  <a:pt x="5927851" y="5168529"/>
                  <a:pt x="5885453" y="5221546"/>
                  <a:pt x="5844729" y="5259552"/>
                </a:cubicBezTo>
                <a:cubicBezTo>
                  <a:pt x="5840058" y="5260549"/>
                  <a:pt x="5827043" y="5268214"/>
                  <a:pt x="5827043" y="5268214"/>
                </a:cubicBezTo>
                <a:cubicBezTo>
                  <a:pt x="5803009" y="5292886"/>
                  <a:pt x="5779973" y="5322229"/>
                  <a:pt x="5759611" y="5341232"/>
                </a:cubicBezTo>
                <a:cubicBezTo>
                  <a:pt x="5754940" y="5342230"/>
                  <a:pt x="5758613" y="5336560"/>
                  <a:pt x="5750269" y="5343228"/>
                </a:cubicBezTo>
                <a:cubicBezTo>
                  <a:pt x="5754940" y="5342230"/>
                  <a:pt x="5751266" y="5347898"/>
                  <a:pt x="5752265" y="5352569"/>
                </a:cubicBezTo>
                <a:cubicBezTo>
                  <a:pt x="5719885" y="5383909"/>
                  <a:pt x="5685513" y="5405904"/>
                  <a:pt x="5656807" y="5431574"/>
                </a:cubicBezTo>
                <a:cubicBezTo>
                  <a:pt x="5660479" y="5425905"/>
                  <a:pt x="5665151" y="5424908"/>
                  <a:pt x="5668823" y="5419239"/>
                </a:cubicBezTo>
                <a:cubicBezTo>
                  <a:pt x="5688186" y="5395564"/>
                  <a:pt x="5708548" y="5376562"/>
                  <a:pt x="5700204" y="5383229"/>
                </a:cubicBezTo>
                <a:cubicBezTo>
                  <a:pt x="5720565" y="5364226"/>
                  <a:pt x="5743601" y="5334884"/>
                  <a:pt x="5759291" y="5316879"/>
                </a:cubicBezTo>
                <a:cubicBezTo>
                  <a:pt x="5762965" y="5311210"/>
                  <a:pt x="5762965" y="5311210"/>
                  <a:pt x="5767637" y="5310212"/>
                </a:cubicBezTo>
                <a:cubicBezTo>
                  <a:pt x="5764961" y="5320552"/>
                  <a:pt x="5774982" y="5298873"/>
                  <a:pt x="5776978" y="5308215"/>
                </a:cubicBezTo>
                <a:cubicBezTo>
                  <a:pt x="5784325" y="5296878"/>
                  <a:pt x="5791671" y="5285539"/>
                  <a:pt x="5795344" y="5279871"/>
                </a:cubicBezTo>
                <a:cubicBezTo>
                  <a:pt x="5807361" y="5267535"/>
                  <a:pt x="5815704" y="5260867"/>
                  <a:pt x="5823052" y="5249530"/>
                </a:cubicBezTo>
                <a:cubicBezTo>
                  <a:pt x="5843414" y="5230528"/>
                  <a:pt x="5868445" y="5210527"/>
                  <a:pt x="5876789" y="5203859"/>
                </a:cubicBezTo>
                <a:cubicBezTo>
                  <a:pt x="5872119" y="5204858"/>
                  <a:pt x="5875791" y="5199189"/>
                  <a:pt x="5875791" y="5199189"/>
                </a:cubicBezTo>
                <a:cubicBezTo>
                  <a:pt x="5879465" y="5193519"/>
                  <a:pt x="5883139" y="5187851"/>
                  <a:pt x="5891483" y="5181185"/>
                </a:cubicBezTo>
                <a:cubicBezTo>
                  <a:pt x="5891483" y="5181185"/>
                  <a:pt x="5896154" y="5180186"/>
                  <a:pt x="5895155" y="5175515"/>
                </a:cubicBezTo>
                <a:cubicBezTo>
                  <a:pt x="5907171" y="5163179"/>
                  <a:pt x="5919189" y="5150844"/>
                  <a:pt x="5926536" y="5139505"/>
                </a:cubicBezTo>
                <a:cubicBezTo>
                  <a:pt x="5938553" y="5127170"/>
                  <a:pt x="5951567" y="5119504"/>
                  <a:pt x="5942227" y="5121500"/>
                </a:cubicBezTo>
                <a:cubicBezTo>
                  <a:pt x="5953245" y="5104494"/>
                  <a:pt x="5968936" y="5086488"/>
                  <a:pt x="5989296" y="5067486"/>
                </a:cubicBezTo>
                <a:cubicBezTo>
                  <a:pt x="5992970" y="5061817"/>
                  <a:pt x="6000317" y="5050480"/>
                  <a:pt x="6008661" y="5043813"/>
                </a:cubicBezTo>
                <a:cubicBezTo>
                  <a:pt x="6008661" y="5043813"/>
                  <a:pt x="6013332" y="5042815"/>
                  <a:pt x="6013332" y="5042815"/>
                </a:cubicBezTo>
                <a:cubicBezTo>
                  <a:pt x="6012333" y="5038142"/>
                  <a:pt x="6017005" y="5037145"/>
                  <a:pt x="6017005" y="5037145"/>
                </a:cubicBezTo>
                <a:cubicBezTo>
                  <a:pt x="6016007" y="5032475"/>
                  <a:pt x="6016007" y="5032475"/>
                  <a:pt x="6016007" y="5032475"/>
                </a:cubicBezTo>
                <a:cubicBezTo>
                  <a:pt x="6016007" y="5032475"/>
                  <a:pt x="6016007" y="5032475"/>
                  <a:pt x="6020679" y="5031478"/>
                </a:cubicBezTo>
                <a:cubicBezTo>
                  <a:pt x="6047387" y="4996466"/>
                  <a:pt x="6074096" y="4961453"/>
                  <a:pt x="6092463" y="4933109"/>
                </a:cubicBezTo>
                <a:cubicBezTo>
                  <a:pt x="6097135" y="4932111"/>
                  <a:pt x="6101805" y="4931113"/>
                  <a:pt x="6100805" y="4926443"/>
                </a:cubicBezTo>
                <a:cubicBezTo>
                  <a:pt x="6105477" y="4925444"/>
                  <a:pt x="6105477" y="4925444"/>
                  <a:pt x="6105477" y="4925444"/>
                </a:cubicBezTo>
                <a:cubicBezTo>
                  <a:pt x="6105477" y="4925444"/>
                  <a:pt x="6110149" y="4924445"/>
                  <a:pt x="6109151" y="4919775"/>
                </a:cubicBezTo>
                <a:cubicBezTo>
                  <a:pt x="6108152" y="4915104"/>
                  <a:pt x="6108152" y="4915104"/>
                  <a:pt x="6108152" y="4915104"/>
                </a:cubicBezTo>
                <a:cubicBezTo>
                  <a:pt x="6119173" y="4898096"/>
                  <a:pt x="6145882" y="4863086"/>
                  <a:pt x="6132867" y="4870749"/>
                </a:cubicBezTo>
                <a:cubicBezTo>
                  <a:pt x="6132867" y="4870749"/>
                  <a:pt x="6132867" y="4870749"/>
                  <a:pt x="6136541" y="4865082"/>
                </a:cubicBezTo>
                <a:cubicBezTo>
                  <a:pt x="6141211" y="4864083"/>
                  <a:pt x="6139215" y="4854742"/>
                  <a:pt x="6139215" y="4854742"/>
                </a:cubicBezTo>
                <a:lnTo>
                  <a:pt x="6130068" y="4856695"/>
                </a:lnTo>
                <a:lnTo>
                  <a:pt x="6137803" y="4845276"/>
                </a:lnTo>
                <a:lnTo>
                  <a:pt x="6138892" y="4830440"/>
                </a:lnTo>
                <a:lnTo>
                  <a:pt x="6138972" y="4830325"/>
                </a:lnTo>
                <a:lnTo>
                  <a:pt x="6153373" y="4818137"/>
                </a:lnTo>
                <a:cubicBezTo>
                  <a:pt x="6156921" y="4811884"/>
                  <a:pt x="6160097" y="4803880"/>
                  <a:pt x="6165606" y="4795377"/>
                </a:cubicBezTo>
                <a:cubicBezTo>
                  <a:pt x="6165606" y="4795377"/>
                  <a:pt x="6170277" y="4794378"/>
                  <a:pt x="6170277" y="4794378"/>
                </a:cubicBezTo>
                <a:cubicBezTo>
                  <a:pt x="6169280" y="4789708"/>
                  <a:pt x="6173950" y="4788710"/>
                  <a:pt x="6169280" y="4789708"/>
                </a:cubicBezTo>
                <a:cubicBezTo>
                  <a:pt x="6169280" y="4789708"/>
                  <a:pt x="6169280" y="4789708"/>
                  <a:pt x="6168281" y="4785037"/>
                </a:cubicBezTo>
                <a:cubicBezTo>
                  <a:pt x="6171954" y="4779368"/>
                  <a:pt x="6176625" y="4778371"/>
                  <a:pt x="6181297" y="4777372"/>
                </a:cubicBezTo>
                <a:cubicBezTo>
                  <a:pt x="6177623" y="4783041"/>
                  <a:pt x="6177623" y="4783041"/>
                  <a:pt x="6177623" y="4783041"/>
                </a:cubicBezTo>
                <a:cubicBezTo>
                  <a:pt x="6173950" y="4788710"/>
                  <a:pt x="6174949" y="4793381"/>
                  <a:pt x="6174949" y="4793381"/>
                </a:cubicBezTo>
                <a:cubicBezTo>
                  <a:pt x="6179619" y="4792384"/>
                  <a:pt x="6184290" y="4791385"/>
                  <a:pt x="6183293" y="4786714"/>
                </a:cubicBezTo>
                <a:cubicBezTo>
                  <a:pt x="6187964" y="4785716"/>
                  <a:pt x="6187964" y="4785716"/>
                  <a:pt x="6187964" y="4785716"/>
                </a:cubicBezTo>
                <a:cubicBezTo>
                  <a:pt x="6188961" y="4790387"/>
                  <a:pt x="6168599" y="4809391"/>
                  <a:pt x="6174269" y="4813062"/>
                </a:cubicBezTo>
                <a:cubicBezTo>
                  <a:pt x="6206328" y="4757371"/>
                  <a:pt x="6251403" y="4694016"/>
                  <a:pt x="6287136" y="4632654"/>
                </a:cubicBezTo>
                <a:cubicBezTo>
                  <a:pt x="6290809" y="4626985"/>
                  <a:pt x="6293485" y="4616645"/>
                  <a:pt x="6297159" y="4610975"/>
                </a:cubicBezTo>
                <a:cubicBezTo>
                  <a:pt x="6296160" y="4606305"/>
                  <a:pt x="6297159" y="4610975"/>
                  <a:pt x="6300830" y="4605308"/>
                </a:cubicBezTo>
                <a:cubicBezTo>
                  <a:pt x="6329219" y="4555284"/>
                  <a:pt x="6359283" y="4490251"/>
                  <a:pt x="6383677" y="4421545"/>
                </a:cubicBezTo>
                <a:cubicBezTo>
                  <a:pt x="6387351" y="4415875"/>
                  <a:pt x="6392021" y="4414877"/>
                  <a:pt x="6391023" y="4410207"/>
                </a:cubicBezTo>
                <a:cubicBezTo>
                  <a:pt x="6392021" y="4414877"/>
                  <a:pt x="6393019" y="4419549"/>
                  <a:pt x="6384674" y="4426216"/>
                </a:cubicBezTo>
                <a:cubicBezTo>
                  <a:pt x="6389347" y="4425217"/>
                  <a:pt x="6390344" y="4429887"/>
                  <a:pt x="6386671" y="4435557"/>
                </a:cubicBezTo>
                <a:cubicBezTo>
                  <a:pt x="6381003" y="4431885"/>
                  <a:pt x="6380323" y="4451566"/>
                  <a:pt x="6381321" y="4456237"/>
                </a:cubicBezTo>
                <a:cubicBezTo>
                  <a:pt x="6381321" y="4456237"/>
                  <a:pt x="6376649" y="4457235"/>
                  <a:pt x="6377647" y="4461907"/>
                </a:cubicBezTo>
                <a:cubicBezTo>
                  <a:pt x="6377647" y="4461907"/>
                  <a:pt x="6378645" y="4466577"/>
                  <a:pt x="6378645" y="4466577"/>
                </a:cubicBezTo>
                <a:cubicBezTo>
                  <a:pt x="6376968" y="4481587"/>
                  <a:pt x="6365269" y="4518277"/>
                  <a:pt x="6368942" y="4512608"/>
                </a:cubicBezTo>
                <a:cubicBezTo>
                  <a:pt x="6367945" y="4507937"/>
                  <a:pt x="6372616" y="4506940"/>
                  <a:pt x="6371617" y="4502267"/>
                </a:cubicBezTo>
                <a:cubicBezTo>
                  <a:pt x="6372616" y="4506940"/>
                  <a:pt x="6373613" y="4511611"/>
                  <a:pt x="6373613" y="4511611"/>
                </a:cubicBezTo>
                <a:cubicBezTo>
                  <a:pt x="6373613" y="4511611"/>
                  <a:pt x="6378285" y="4510612"/>
                  <a:pt x="6381957" y="4504944"/>
                </a:cubicBezTo>
                <a:cubicBezTo>
                  <a:pt x="6381957" y="4504944"/>
                  <a:pt x="6381957" y="4504944"/>
                  <a:pt x="6382956" y="4509615"/>
                </a:cubicBezTo>
                <a:cubicBezTo>
                  <a:pt x="6382956" y="4509615"/>
                  <a:pt x="6378285" y="4510612"/>
                  <a:pt x="6379282" y="4515282"/>
                </a:cubicBezTo>
                <a:cubicBezTo>
                  <a:pt x="6379282" y="4515282"/>
                  <a:pt x="6379282" y="4515282"/>
                  <a:pt x="6380281" y="4519954"/>
                </a:cubicBezTo>
                <a:cubicBezTo>
                  <a:pt x="6373933" y="4535964"/>
                  <a:pt x="6371258" y="4546302"/>
                  <a:pt x="6372255" y="4550974"/>
                </a:cubicBezTo>
                <a:cubicBezTo>
                  <a:pt x="6373253" y="4555646"/>
                  <a:pt x="6373253" y="4555646"/>
                  <a:pt x="6373253" y="4555646"/>
                </a:cubicBezTo>
                <a:cubicBezTo>
                  <a:pt x="6373253" y="4555646"/>
                  <a:pt x="6373253" y="4555646"/>
                  <a:pt x="6376927" y="4549976"/>
                </a:cubicBezTo>
                <a:cubicBezTo>
                  <a:pt x="6373253" y="4555646"/>
                  <a:pt x="6377924" y="4554648"/>
                  <a:pt x="6381598" y="4548979"/>
                </a:cubicBezTo>
                <a:cubicBezTo>
                  <a:pt x="6365227" y="4586665"/>
                  <a:pt x="6360875" y="4612016"/>
                  <a:pt x="6352849" y="4643036"/>
                </a:cubicBezTo>
                <a:cubicBezTo>
                  <a:pt x="6343827" y="4669385"/>
                  <a:pt x="6334803" y="4695734"/>
                  <a:pt x="6318434" y="4733420"/>
                </a:cubicBezTo>
                <a:cubicBezTo>
                  <a:pt x="6322107" y="4727751"/>
                  <a:pt x="6323104" y="4732422"/>
                  <a:pt x="6319431" y="4738091"/>
                </a:cubicBezTo>
                <a:cubicBezTo>
                  <a:pt x="6319431" y="4738091"/>
                  <a:pt x="6319431" y="4738091"/>
                  <a:pt x="6314760" y="4739090"/>
                </a:cubicBezTo>
                <a:cubicBezTo>
                  <a:pt x="6314760" y="4739090"/>
                  <a:pt x="6315757" y="4743761"/>
                  <a:pt x="6315757" y="4743761"/>
                </a:cubicBezTo>
                <a:cubicBezTo>
                  <a:pt x="6312085" y="4749430"/>
                  <a:pt x="6312085" y="4749430"/>
                  <a:pt x="6312085" y="4749430"/>
                </a:cubicBezTo>
                <a:cubicBezTo>
                  <a:pt x="6305737" y="4765438"/>
                  <a:pt x="6305737" y="4765438"/>
                  <a:pt x="6305737" y="4765438"/>
                </a:cubicBezTo>
                <a:cubicBezTo>
                  <a:pt x="6310409" y="4764441"/>
                  <a:pt x="6306735" y="4770110"/>
                  <a:pt x="6307733" y="4774781"/>
                </a:cubicBezTo>
                <a:cubicBezTo>
                  <a:pt x="6315079" y="4763444"/>
                  <a:pt x="6310409" y="4764441"/>
                  <a:pt x="6313083" y="4754099"/>
                </a:cubicBezTo>
                <a:cubicBezTo>
                  <a:pt x="6313083" y="4754099"/>
                  <a:pt x="6317755" y="4753102"/>
                  <a:pt x="6317755" y="4753102"/>
                </a:cubicBezTo>
                <a:cubicBezTo>
                  <a:pt x="6317755" y="4753102"/>
                  <a:pt x="6317755" y="4753102"/>
                  <a:pt x="6318753" y="4757773"/>
                </a:cubicBezTo>
                <a:cubicBezTo>
                  <a:pt x="6323424" y="4756776"/>
                  <a:pt x="6322425" y="4752103"/>
                  <a:pt x="6322425" y="4752103"/>
                </a:cubicBezTo>
                <a:cubicBezTo>
                  <a:pt x="6322425" y="4752103"/>
                  <a:pt x="6321427" y="4747433"/>
                  <a:pt x="6321427" y="4747433"/>
                </a:cubicBezTo>
                <a:cubicBezTo>
                  <a:pt x="6325101" y="4741765"/>
                  <a:pt x="6325101" y="4741765"/>
                  <a:pt x="6325101" y="4741765"/>
                </a:cubicBezTo>
                <a:cubicBezTo>
                  <a:pt x="6328773" y="4736096"/>
                  <a:pt x="6325779" y="4722082"/>
                  <a:pt x="6331449" y="4725756"/>
                </a:cubicBezTo>
                <a:cubicBezTo>
                  <a:pt x="6339792" y="4719089"/>
                  <a:pt x="6325779" y="4722082"/>
                  <a:pt x="6329453" y="4716413"/>
                </a:cubicBezTo>
                <a:cubicBezTo>
                  <a:pt x="6333126" y="4710745"/>
                  <a:pt x="6334123" y="4715415"/>
                  <a:pt x="6338795" y="4714417"/>
                </a:cubicBezTo>
                <a:cubicBezTo>
                  <a:pt x="6341470" y="4704079"/>
                  <a:pt x="6345823" y="4678727"/>
                  <a:pt x="6345823" y="4678727"/>
                </a:cubicBezTo>
                <a:cubicBezTo>
                  <a:pt x="6351173" y="4658048"/>
                  <a:pt x="6368540" y="4625031"/>
                  <a:pt x="6371215" y="4614691"/>
                </a:cubicBezTo>
                <a:cubicBezTo>
                  <a:pt x="6374889" y="4609023"/>
                  <a:pt x="6371215" y="4614691"/>
                  <a:pt x="6366544" y="4615689"/>
                </a:cubicBezTo>
                <a:cubicBezTo>
                  <a:pt x="6371215" y="4614691"/>
                  <a:pt x="6373891" y="4604351"/>
                  <a:pt x="6373891" y="4604351"/>
                </a:cubicBezTo>
                <a:cubicBezTo>
                  <a:pt x="6373891" y="4604351"/>
                  <a:pt x="6371895" y="4595009"/>
                  <a:pt x="6371895" y="4595009"/>
                </a:cubicBezTo>
                <a:cubicBezTo>
                  <a:pt x="6375569" y="4589342"/>
                  <a:pt x="6377565" y="4598681"/>
                  <a:pt x="6376566" y="4594011"/>
                </a:cubicBezTo>
                <a:cubicBezTo>
                  <a:pt x="6384909" y="4587344"/>
                  <a:pt x="6373573" y="4579997"/>
                  <a:pt x="6383911" y="4582674"/>
                </a:cubicBezTo>
                <a:cubicBezTo>
                  <a:pt x="6384591" y="4562991"/>
                  <a:pt x="6390621" y="4522630"/>
                  <a:pt x="6402637" y="4510294"/>
                </a:cubicBezTo>
                <a:cubicBezTo>
                  <a:pt x="6403635" y="4514964"/>
                  <a:pt x="6398965" y="4515963"/>
                  <a:pt x="6393296" y="4512289"/>
                </a:cubicBezTo>
                <a:cubicBezTo>
                  <a:pt x="6409665" y="4474603"/>
                  <a:pt x="6426715" y="4417234"/>
                  <a:pt x="6427395" y="4397552"/>
                </a:cubicBezTo>
                <a:cubicBezTo>
                  <a:pt x="6430069" y="4387213"/>
                  <a:pt x="6456460" y="4327847"/>
                  <a:pt x="6451471" y="4304493"/>
                </a:cubicBezTo>
                <a:cubicBezTo>
                  <a:pt x="6454145" y="4294152"/>
                  <a:pt x="6451471" y="4304493"/>
                  <a:pt x="6456141" y="4303494"/>
                </a:cubicBezTo>
                <a:cubicBezTo>
                  <a:pt x="6453148" y="4289482"/>
                  <a:pt x="6465844" y="4257463"/>
                  <a:pt x="6472191" y="4241454"/>
                </a:cubicBezTo>
                <a:cubicBezTo>
                  <a:pt x="6472191" y="4241454"/>
                  <a:pt x="6469517" y="4251796"/>
                  <a:pt x="6475185" y="4255467"/>
                </a:cubicBezTo>
                <a:cubicBezTo>
                  <a:pt x="6477543" y="4220774"/>
                  <a:pt x="6474867" y="4231114"/>
                  <a:pt x="6466523" y="4237782"/>
                </a:cubicBezTo>
                <a:cubicBezTo>
                  <a:pt x="6477223" y="4196422"/>
                  <a:pt x="6476227" y="4191750"/>
                  <a:pt x="6490918" y="4169076"/>
                </a:cubicBezTo>
                <a:cubicBezTo>
                  <a:pt x="6490918" y="4169076"/>
                  <a:pt x="6494591" y="4163407"/>
                  <a:pt x="6494591" y="4163407"/>
                </a:cubicBezTo>
                <a:cubicBezTo>
                  <a:pt x="6494591" y="4163407"/>
                  <a:pt x="6494591" y="4163407"/>
                  <a:pt x="6493593" y="4158734"/>
                </a:cubicBezTo>
                <a:cubicBezTo>
                  <a:pt x="6493593" y="4158734"/>
                  <a:pt x="6488922" y="4159733"/>
                  <a:pt x="6488922" y="4159733"/>
                </a:cubicBezTo>
                <a:cubicBezTo>
                  <a:pt x="6488922" y="4159733"/>
                  <a:pt x="6487925" y="4155062"/>
                  <a:pt x="6491597" y="4149395"/>
                </a:cubicBezTo>
                <a:cubicBezTo>
                  <a:pt x="6491597" y="4149395"/>
                  <a:pt x="6491597" y="4149395"/>
                  <a:pt x="6492596" y="4154064"/>
                </a:cubicBezTo>
                <a:cubicBezTo>
                  <a:pt x="6492596" y="4154064"/>
                  <a:pt x="6492596" y="4154064"/>
                  <a:pt x="6497267" y="4153066"/>
                </a:cubicBezTo>
                <a:cubicBezTo>
                  <a:pt x="6496270" y="4148396"/>
                  <a:pt x="6496270" y="4148396"/>
                  <a:pt x="6495271" y="4143724"/>
                </a:cubicBezTo>
                <a:cubicBezTo>
                  <a:pt x="6498943" y="4138054"/>
                  <a:pt x="6498943" y="4138054"/>
                  <a:pt x="6498943" y="4138054"/>
                </a:cubicBezTo>
                <a:cubicBezTo>
                  <a:pt x="6502617" y="4132387"/>
                  <a:pt x="6506969" y="4107034"/>
                  <a:pt x="6495950" y="4124042"/>
                </a:cubicBezTo>
                <a:cubicBezTo>
                  <a:pt x="6499623" y="4118375"/>
                  <a:pt x="6499623" y="4118375"/>
                  <a:pt x="6498625" y="4113702"/>
                </a:cubicBezTo>
                <a:cubicBezTo>
                  <a:pt x="6498625" y="4113702"/>
                  <a:pt x="6493954" y="4114701"/>
                  <a:pt x="6494951" y="4119372"/>
                </a:cubicBezTo>
                <a:cubicBezTo>
                  <a:pt x="6494951" y="4119372"/>
                  <a:pt x="6490281" y="4120369"/>
                  <a:pt x="6491279" y="4125039"/>
                </a:cubicBezTo>
                <a:cubicBezTo>
                  <a:pt x="6490281" y="4120369"/>
                  <a:pt x="6489284" y="4115698"/>
                  <a:pt x="6489284" y="4115698"/>
                </a:cubicBezTo>
                <a:cubicBezTo>
                  <a:pt x="6492955" y="4110029"/>
                  <a:pt x="6495632" y="4099689"/>
                  <a:pt x="6497309" y="4084679"/>
                </a:cubicBezTo>
                <a:cubicBezTo>
                  <a:pt x="6502659" y="4063998"/>
                  <a:pt x="6508009" y="4043318"/>
                  <a:pt x="6509686" y="4028308"/>
                </a:cubicBezTo>
                <a:cubicBezTo>
                  <a:pt x="6508689" y="4023635"/>
                  <a:pt x="6513359" y="4022638"/>
                  <a:pt x="6513359" y="4022638"/>
                </a:cubicBezTo>
                <a:cubicBezTo>
                  <a:pt x="6513359" y="4022638"/>
                  <a:pt x="6512361" y="4017968"/>
                  <a:pt x="6512361" y="4017968"/>
                </a:cubicBezTo>
                <a:cubicBezTo>
                  <a:pt x="6510365" y="4008625"/>
                  <a:pt x="6513040" y="3998285"/>
                  <a:pt x="6516714" y="3992617"/>
                </a:cubicBezTo>
                <a:cubicBezTo>
                  <a:pt x="6515717" y="3987947"/>
                  <a:pt x="6518391" y="3977605"/>
                  <a:pt x="6517393" y="3972936"/>
                </a:cubicBezTo>
                <a:cubicBezTo>
                  <a:pt x="6520069" y="3962596"/>
                  <a:pt x="6526416" y="3946585"/>
                  <a:pt x="6529091" y="3936247"/>
                </a:cubicBezTo>
                <a:lnTo>
                  <a:pt x="6530564" y="3935932"/>
                </a:lnTo>
                <a:lnTo>
                  <a:pt x="6530564" y="4704434"/>
                </a:lnTo>
                <a:lnTo>
                  <a:pt x="6484646" y="4808415"/>
                </a:lnTo>
                <a:cubicBezTo>
                  <a:pt x="6268425" y="5225199"/>
                  <a:pt x="5948779" y="5586542"/>
                  <a:pt x="5551795" y="5854513"/>
                </a:cubicBezTo>
                <a:cubicBezTo>
                  <a:pt x="5551795" y="5854513"/>
                  <a:pt x="5551795" y="5854513"/>
                  <a:pt x="5547125" y="5855512"/>
                </a:cubicBezTo>
                <a:cubicBezTo>
                  <a:pt x="5547125" y="5855512"/>
                  <a:pt x="5542455" y="5856509"/>
                  <a:pt x="5542455" y="5856509"/>
                </a:cubicBezTo>
                <a:cubicBezTo>
                  <a:pt x="5550799" y="5849843"/>
                  <a:pt x="5545129" y="5846171"/>
                  <a:pt x="5536785" y="5852838"/>
                </a:cubicBezTo>
                <a:cubicBezTo>
                  <a:pt x="5545129" y="5846171"/>
                  <a:pt x="5545129" y="5846171"/>
                  <a:pt x="5545129" y="5846171"/>
                </a:cubicBezTo>
                <a:cubicBezTo>
                  <a:pt x="5548802" y="5840501"/>
                  <a:pt x="5548802" y="5840501"/>
                  <a:pt x="5543133" y="5836827"/>
                </a:cubicBezTo>
                <a:cubicBezTo>
                  <a:pt x="5543133" y="5836827"/>
                  <a:pt x="5538462" y="5837825"/>
                  <a:pt x="5534788" y="5843494"/>
                </a:cubicBezTo>
                <a:cubicBezTo>
                  <a:pt x="5531117" y="5849164"/>
                  <a:pt x="5531117" y="5849164"/>
                  <a:pt x="5531117" y="5849164"/>
                </a:cubicBezTo>
                <a:cubicBezTo>
                  <a:pt x="5526445" y="5850162"/>
                  <a:pt x="5526445" y="5850162"/>
                  <a:pt x="5526445" y="5850162"/>
                </a:cubicBezTo>
                <a:cubicBezTo>
                  <a:pt x="5524449" y="5840819"/>
                  <a:pt x="5519777" y="5841818"/>
                  <a:pt x="5511435" y="5848485"/>
                </a:cubicBezTo>
                <a:cubicBezTo>
                  <a:pt x="5504088" y="5859824"/>
                  <a:pt x="5512432" y="5853156"/>
                  <a:pt x="5509757" y="5863495"/>
                </a:cubicBezTo>
                <a:cubicBezTo>
                  <a:pt x="5518102" y="5856829"/>
                  <a:pt x="5518102" y="5856829"/>
                  <a:pt x="5518102" y="5856829"/>
                </a:cubicBezTo>
                <a:cubicBezTo>
                  <a:pt x="5514428" y="5862498"/>
                  <a:pt x="5509757" y="5863495"/>
                  <a:pt x="5515425" y="5867169"/>
                </a:cubicBezTo>
                <a:cubicBezTo>
                  <a:pt x="5520097" y="5866172"/>
                  <a:pt x="5524768" y="5865173"/>
                  <a:pt x="5528441" y="5859504"/>
                </a:cubicBezTo>
                <a:cubicBezTo>
                  <a:pt x="5532115" y="5853836"/>
                  <a:pt x="5532115" y="5853836"/>
                  <a:pt x="5532115" y="5853836"/>
                </a:cubicBezTo>
                <a:cubicBezTo>
                  <a:pt x="5533112" y="5858505"/>
                  <a:pt x="5528441" y="5859504"/>
                  <a:pt x="5529439" y="5864176"/>
                </a:cubicBezTo>
                <a:cubicBezTo>
                  <a:pt x="5524768" y="5865173"/>
                  <a:pt x="5524768" y="5865173"/>
                  <a:pt x="5524768" y="5865173"/>
                </a:cubicBezTo>
                <a:cubicBezTo>
                  <a:pt x="5521095" y="5870842"/>
                  <a:pt x="5521095" y="5870842"/>
                  <a:pt x="5521095" y="5870842"/>
                </a:cubicBezTo>
                <a:cubicBezTo>
                  <a:pt x="5522093" y="5875511"/>
                  <a:pt x="5522093" y="5875511"/>
                  <a:pt x="5522093" y="5875511"/>
                </a:cubicBezTo>
                <a:lnTo>
                  <a:pt x="5336527" y="5986393"/>
                </a:lnTo>
                <a:lnTo>
                  <a:pt x="5474406" y="5921652"/>
                </a:lnTo>
                <a:cubicBezTo>
                  <a:pt x="5567705" y="5872762"/>
                  <a:pt x="5657473" y="5820388"/>
                  <a:pt x="5743583" y="5764408"/>
                </a:cubicBezTo>
                <a:lnTo>
                  <a:pt x="5973095" y="5598350"/>
                </a:lnTo>
                <a:lnTo>
                  <a:pt x="5987645" y="5585565"/>
                </a:lnTo>
                <a:cubicBezTo>
                  <a:pt x="6143280" y="5433873"/>
                  <a:pt x="6280077" y="5265447"/>
                  <a:pt x="6396010" y="5084383"/>
                </a:cubicBezTo>
                <a:lnTo>
                  <a:pt x="6530564" y="4845456"/>
                </a:lnTo>
                <a:lnTo>
                  <a:pt x="6530564" y="6858000"/>
                </a:lnTo>
                <a:lnTo>
                  <a:pt x="1733020" y="6858000"/>
                </a:lnTo>
                <a:lnTo>
                  <a:pt x="1622264" y="6769480"/>
                </a:lnTo>
                <a:cubicBezTo>
                  <a:pt x="1563232" y="6720248"/>
                  <a:pt x="1504873" y="6670133"/>
                  <a:pt x="1446345" y="6620355"/>
                </a:cubicBezTo>
                <a:cubicBezTo>
                  <a:pt x="1298344" y="6493891"/>
                  <a:pt x="1150344" y="6370116"/>
                  <a:pt x="1021180" y="6222127"/>
                </a:cubicBezTo>
                <a:cubicBezTo>
                  <a:pt x="1013107" y="6211364"/>
                  <a:pt x="1002343" y="6200600"/>
                  <a:pt x="994270" y="6189838"/>
                </a:cubicBezTo>
                <a:cubicBezTo>
                  <a:pt x="978124" y="6171003"/>
                  <a:pt x="986197" y="6152168"/>
                  <a:pt x="1002343" y="6138714"/>
                </a:cubicBezTo>
                <a:cubicBezTo>
                  <a:pt x="1021180" y="6125260"/>
                  <a:pt x="1029252" y="6141405"/>
                  <a:pt x="1040015" y="6154859"/>
                </a:cubicBezTo>
                <a:cubicBezTo>
                  <a:pt x="1104598" y="6232889"/>
                  <a:pt x="1174562" y="6308230"/>
                  <a:pt x="1255290" y="6372807"/>
                </a:cubicBezTo>
                <a:cubicBezTo>
                  <a:pt x="1268744" y="6383571"/>
                  <a:pt x="1282199" y="6397023"/>
                  <a:pt x="1301035" y="6399714"/>
                </a:cubicBezTo>
                <a:cubicBezTo>
                  <a:pt x="1303727" y="6399714"/>
                  <a:pt x="1311799" y="6402405"/>
                  <a:pt x="1311799" y="6399714"/>
                </a:cubicBezTo>
                <a:cubicBezTo>
                  <a:pt x="1317181" y="6394332"/>
                  <a:pt x="1311799" y="6391643"/>
                  <a:pt x="1306417" y="6391643"/>
                </a:cubicBezTo>
                <a:cubicBezTo>
                  <a:pt x="1179943" y="6249034"/>
                  <a:pt x="1045399" y="6114498"/>
                  <a:pt x="924306" y="5969198"/>
                </a:cubicBezTo>
                <a:cubicBezTo>
                  <a:pt x="886633" y="5923455"/>
                  <a:pt x="851652" y="5877714"/>
                  <a:pt x="811288" y="5831971"/>
                </a:cubicBezTo>
                <a:cubicBezTo>
                  <a:pt x="803214" y="5821207"/>
                  <a:pt x="797832" y="5805064"/>
                  <a:pt x="770924" y="5805064"/>
                </a:cubicBezTo>
                <a:cubicBezTo>
                  <a:pt x="819360" y="5893857"/>
                  <a:pt x="908161" y="5955744"/>
                  <a:pt x="894705" y="6068755"/>
                </a:cubicBezTo>
                <a:cubicBezTo>
                  <a:pt x="620231" y="5756630"/>
                  <a:pt x="413030" y="5409527"/>
                  <a:pt x="267721" y="5019370"/>
                </a:cubicBezTo>
                <a:cubicBezTo>
                  <a:pt x="305392" y="5027443"/>
                  <a:pt x="313466" y="5059732"/>
                  <a:pt x="326921" y="5086639"/>
                </a:cubicBezTo>
                <a:cubicBezTo>
                  <a:pt x="340375" y="5116237"/>
                  <a:pt x="353829" y="5143144"/>
                  <a:pt x="375357" y="5167361"/>
                </a:cubicBezTo>
                <a:cubicBezTo>
                  <a:pt x="407649" y="5245391"/>
                  <a:pt x="445320" y="5320732"/>
                  <a:pt x="493757" y="5385309"/>
                </a:cubicBezTo>
                <a:cubicBezTo>
                  <a:pt x="499140" y="5382619"/>
                  <a:pt x="504522" y="5379928"/>
                  <a:pt x="509903" y="5377237"/>
                </a:cubicBezTo>
                <a:cubicBezTo>
                  <a:pt x="469539" y="5304588"/>
                  <a:pt x="429175" y="5231938"/>
                  <a:pt x="386121" y="5159289"/>
                </a:cubicBezTo>
                <a:cubicBezTo>
                  <a:pt x="270411" y="4863307"/>
                  <a:pt x="154701" y="4567327"/>
                  <a:pt x="87429" y="4255203"/>
                </a:cubicBezTo>
                <a:cubicBezTo>
                  <a:pt x="-47118" y="3606738"/>
                  <a:pt x="-25592" y="2966343"/>
                  <a:pt x="146628" y="2328641"/>
                </a:cubicBezTo>
                <a:cubicBezTo>
                  <a:pt x="178920" y="2207559"/>
                  <a:pt x="197757" y="2086475"/>
                  <a:pt x="251574" y="1973465"/>
                </a:cubicBezTo>
                <a:cubicBezTo>
                  <a:pt x="256956" y="1962702"/>
                  <a:pt x="256956" y="1949248"/>
                  <a:pt x="273102" y="1946557"/>
                </a:cubicBezTo>
                <a:cubicBezTo>
                  <a:pt x="286557" y="1949248"/>
                  <a:pt x="283866" y="1960011"/>
                  <a:pt x="281175" y="1965393"/>
                </a:cubicBezTo>
                <a:cubicBezTo>
                  <a:pt x="152011" y="2344786"/>
                  <a:pt x="103574" y="2737632"/>
                  <a:pt x="65900" y="3133169"/>
                </a:cubicBezTo>
                <a:cubicBezTo>
                  <a:pt x="44375" y="3340355"/>
                  <a:pt x="65900" y="3547541"/>
                  <a:pt x="76665" y="3754727"/>
                </a:cubicBezTo>
                <a:cubicBezTo>
                  <a:pt x="79356" y="3778943"/>
                  <a:pt x="79356" y="3805852"/>
                  <a:pt x="79356" y="3830068"/>
                </a:cubicBezTo>
                <a:cubicBezTo>
                  <a:pt x="82047" y="3843522"/>
                  <a:pt x="71283" y="3862357"/>
                  <a:pt x="95501" y="3862357"/>
                </a:cubicBezTo>
                <a:cubicBezTo>
                  <a:pt x="119719" y="3862357"/>
                  <a:pt x="117029" y="3846212"/>
                  <a:pt x="117029" y="3827377"/>
                </a:cubicBezTo>
                <a:cubicBezTo>
                  <a:pt x="106264" y="3730511"/>
                  <a:pt x="98192" y="3630954"/>
                  <a:pt x="95501" y="3534088"/>
                </a:cubicBezTo>
                <a:cubicBezTo>
                  <a:pt x="79356" y="2724179"/>
                  <a:pt x="256956" y="1968083"/>
                  <a:pt x="711722" y="1290020"/>
                </a:cubicBezTo>
                <a:cubicBezTo>
                  <a:pt x="714413" y="1284638"/>
                  <a:pt x="717104" y="1276565"/>
                  <a:pt x="722486" y="1273875"/>
                </a:cubicBezTo>
                <a:cubicBezTo>
                  <a:pt x="725177" y="1271184"/>
                  <a:pt x="730558" y="1271184"/>
                  <a:pt x="741323" y="1268493"/>
                </a:cubicBezTo>
                <a:cubicBezTo>
                  <a:pt x="717104" y="1319618"/>
                  <a:pt x="698268" y="1365360"/>
                  <a:pt x="671359" y="1411102"/>
                </a:cubicBezTo>
                <a:cubicBezTo>
                  <a:pt x="472230" y="1752825"/>
                  <a:pt x="356520" y="2129527"/>
                  <a:pt x="238121" y="2506229"/>
                </a:cubicBezTo>
                <a:cubicBezTo>
                  <a:pt x="224666" y="2549281"/>
                  <a:pt x="224666" y="2595023"/>
                  <a:pt x="219284" y="2638075"/>
                </a:cubicBezTo>
                <a:cubicBezTo>
                  <a:pt x="219284" y="2648838"/>
                  <a:pt x="211210" y="2664982"/>
                  <a:pt x="230049" y="2667673"/>
                </a:cubicBezTo>
                <a:cubicBezTo>
                  <a:pt x="243502" y="2670363"/>
                  <a:pt x="251574" y="2659600"/>
                  <a:pt x="259647" y="2648838"/>
                </a:cubicBezTo>
                <a:cubicBezTo>
                  <a:pt x="267721" y="2635384"/>
                  <a:pt x="278485" y="2619240"/>
                  <a:pt x="289247" y="2608477"/>
                </a:cubicBezTo>
                <a:cubicBezTo>
                  <a:pt x="251574" y="2915220"/>
                  <a:pt x="216594" y="3219272"/>
                  <a:pt x="240811" y="3528707"/>
                </a:cubicBezTo>
                <a:cubicBezTo>
                  <a:pt x="238121" y="3577139"/>
                  <a:pt x="243502" y="3625573"/>
                  <a:pt x="256956" y="3674006"/>
                </a:cubicBezTo>
                <a:cubicBezTo>
                  <a:pt x="256956" y="3625573"/>
                  <a:pt x="265030" y="3577139"/>
                  <a:pt x="251574" y="3528707"/>
                </a:cubicBezTo>
                <a:cubicBezTo>
                  <a:pt x="248883" y="3273087"/>
                  <a:pt x="262337" y="3017468"/>
                  <a:pt x="302703" y="2764539"/>
                </a:cubicBezTo>
                <a:cubicBezTo>
                  <a:pt x="378048" y="2285589"/>
                  <a:pt x="542194" y="1841620"/>
                  <a:pt x="789760" y="1427247"/>
                </a:cubicBezTo>
                <a:cubicBezTo>
                  <a:pt x="795141" y="1419174"/>
                  <a:pt x="800523" y="1416484"/>
                  <a:pt x="811288" y="1411102"/>
                </a:cubicBezTo>
                <a:cubicBezTo>
                  <a:pt x="512594" y="1994990"/>
                  <a:pt x="308084" y="2603095"/>
                  <a:pt x="329611" y="3267706"/>
                </a:cubicBezTo>
                <a:cubicBezTo>
                  <a:pt x="351139" y="3184293"/>
                  <a:pt x="348447" y="3100880"/>
                  <a:pt x="353829" y="3017468"/>
                </a:cubicBezTo>
                <a:cubicBezTo>
                  <a:pt x="372667" y="2799518"/>
                  <a:pt x="410340" y="2584261"/>
                  <a:pt x="480303" y="2377074"/>
                </a:cubicBezTo>
                <a:cubicBezTo>
                  <a:pt x="504522" y="2301734"/>
                  <a:pt x="509903" y="2221011"/>
                  <a:pt x="536812" y="2148363"/>
                </a:cubicBezTo>
                <a:cubicBezTo>
                  <a:pt x="542194" y="2132218"/>
                  <a:pt x="542194" y="2091856"/>
                  <a:pt x="579867" y="2126836"/>
                </a:cubicBezTo>
                <a:cubicBezTo>
                  <a:pt x="596013" y="2140290"/>
                  <a:pt x="598704" y="2118763"/>
                  <a:pt x="604086" y="2108002"/>
                </a:cubicBezTo>
                <a:cubicBezTo>
                  <a:pt x="674049" y="1900815"/>
                  <a:pt x="778996" y="1709773"/>
                  <a:pt x="878561" y="1516040"/>
                </a:cubicBezTo>
                <a:cubicBezTo>
                  <a:pt x="886633" y="1499897"/>
                  <a:pt x="886633" y="1472988"/>
                  <a:pt x="916234" y="1486443"/>
                </a:cubicBezTo>
                <a:cubicBezTo>
                  <a:pt x="943142" y="1499897"/>
                  <a:pt x="929688" y="1521422"/>
                  <a:pt x="921615" y="1537567"/>
                </a:cubicBezTo>
                <a:cubicBezTo>
                  <a:pt x="883942" y="1607525"/>
                  <a:pt x="840887" y="1672104"/>
                  <a:pt x="813979" y="1747443"/>
                </a:cubicBezTo>
                <a:cubicBezTo>
                  <a:pt x="811288" y="1752825"/>
                  <a:pt x="803214" y="1758206"/>
                  <a:pt x="811288" y="1763588"/>
                </a:cubicBezTo>
                <a:cubicBezTo>
                  <a:pt x="819360" y="1771660"/>
                  <a:pt x="819360" y="1760897"/>
                  <a:pt x="822051" y="1755515"/>
                </a:cubicBezTo>
                <a:cubicBezTo>
                  <a:pt x="867797" y="1739372"/>
                  <a:pt x="892015" y="1701701"/>
                  <a:pt x="916234" y="1664031"/>
                </a:cubicBezTo>
                <a:cubicBezTo>
                  <a:pt x="1056161" y="1413793"/>
                  <a:pt x="1214926" y="1174318"/>
                  <a:pt x="1408672" y="961751"/>
                </a:cubicBezTo>
                <a:cubicBezTo>
                  <a:pt x="1543218" y="819142"/>
                  <a:pt x="1688528" y="687297"/>
                  <a:pt x="1849984" y="576976"/>
                </a:cubicBezTo>
                <a:cubicBezTo>
                  <a:pt x="1858057" y="571595"/>
                  <a:pt x="1868820" y="566213"/>
                  <a:pt x="1876892" y="560831"/>
                </a:cubicBezTo>
                <a:close/>
                <a:moveTo>
                  <a:pt x="3989439" y="394434"/>
                </a:moveTo>
                <a:lnTo>
                  <a:pt x="4081738" y="396538"/>
                </a:lnTo>
                <a:lnTo>
                  <a:pt x="4080500" y="396329"/>
                </a:lnTo>
                <a:lnTo>
                  <a:pt x="4071877" y="395619"/>
                </a:lnTo>
                <a:close/>
                <a:moveTo>
                  <a:pt x="3502109" y="0"/>
                </a:moveTo>
                <a:lnTo>
                  <a:pt x="4589616" y="0"/>
                </a:lnTo>
                <a:lnTo>
                  <a:pt x="4634080" y="6163"/>
                </a:lnTo>
                <a:cubicBezTo>
                  <a:pt x="4763917" y="27562"/>
                  <a:pt x="4893418" y="55647"/>
                  <a:pt x="5022582" y="89954"/>
                </a:cubicBezTo>
                <a:cubicBezTo>
                  <a:pt x="5157129" y="127624"/>
                  <a:pt x="5286293" y="173367"/>
                  <a:pt x="5418149" y="216418"/>
                </a:cubicBezTo>
                <a:cubicBezTo>
                  <a:pt x="5455822" y="227181"/>
                  <a:pt x="5488112" y="248706"/>
                  <a:pt x="5515022" y="278306"/>
                </a:cubicBezTo>
                <a:cubicBezTo>
                  <a:pt x="5560767" y="324047"/>
                  <a:pt x="5614586" y="348265"/>
                  <a:pt x="5679169" y="353645"/>
                </a:cubicBezTo>
                <a:cubicBezTo>
                  <a:pt x="5778733" y="361717"/>
                  <a:pt x="5859459" y="402079"/>
                  <a:pt x="5910587" y="496254"/>
                </a:cubicBezTo>
                <a:cubicBezTo>
                  <a:pt x="5915970" y="509708"/>
                  <a:pt x="5926733" y="523161"/>
                  <a:pt x="5940187" y="531233"/>
                </a:cubicBezTo>
                <a:cubicBezTo>
                  <a:pt x="6074734" y="622718"/>
                  <a:pt x="6185061" y="741111"/>
                  <a:pt x="6314226" y="835286"/>
                </a:cubicBezTo>
                <a:cubicBezTo>
                  <a:pt x="6341136" y="854122"/>
                  <a:pt x="6362663" y="872956"/>
                  <a:pt x="6400336" y="878338"/>
                </a:cubicBezTo>
                <a:cubicBezTo>
                  <a:pt x="6386881" y="837977"/>
                  <a:pt x="6357281" y="813761"/>
                  <a:pt x="6330373" y="786854"/>
                </a:cubicBezTo>
                <a:cubicBezTo>
                  <a:pt x="6265789" y="730347"/>
                  <a:pt x="6209281" y="684606"/>
                  <a:pt x="6136625" y="638863"/>
                </a:cubicBezTo>
                <a:cubicBezTo>
                  <a:pt x="6120479" y="628100"/>
                  <a:pt x="6125861" y="633481"/>
                  <a:pt x="6096262" y="593120"/>
                </a:cubicBezTo>
                <a:cubicBezTo>
                  <a:pt x="6107025" y="579667"/>
                  <a:pt x="6088188" y="566213"/>
                  <a:pt x="6077425" y="555450"/>
                </a:cubicBezTo>
                <a:cubicBezTo>
                  <a:pt x="5985933" y="477420"/>
                  <a:pt x="5894442" y="399388"/>
                  <a:pt x="5800259" y="321356"/>
                </a:cubicBezTo>
                <a:cubicBezTo>
                  <a:pt x="5730296" y="262161"/>
                  <a:pt x="5649568" y="224490"/>
                  <a:pt x="5560767" y="197583"/>
                </a:cubicBezTo>
                <a:cubicBezTo>
                  <a:pt x="5367021" y="146459"/>
                  <a:pt x="5184038" y="68429"/>
                  <a:pt x="4990292" y="25376"/>
                </a:cubicBezTo>
                <a:lnTo>
                  <a:pt x="4858639" y="0"/>
                </a:lnTo>
                <a:lnTo>
                  <a:pt x="5574004" y="0"/>
                </a:lnTo>
                <a:lnTo>
                  <a:pt x="5574348" y="150"/>
                </a:lnTo>
                <a:cubicBezTo>
                  <a:pt x="5595749" y="7886"/>
                  <a:pt x="5617949" y="13940"/>
                  <a:pt x="5641495" y="17304"/>
                </a:cubicBezTo>
                <a:cubicBezTo>
                  <a:pt x="5659658" y="19322"/>
                  <a:pt x="5680850" y="27395"/>
                  <a:pt x="5693716" y="15413"/>
                </a:cubicBezTo>
                <a:lnTo>
                  <a:pt x="5701308" y="0"/>
                </a:lnTo>
                <a:lnTo>
                  <a:pt x="5893094" y="0"/>
                </a:lnTo>
                <a:lnTo>
                  <a:pt x="5928120" y="15497"/>
                </a:lnTo>
                <a:cubicBezTo>
                  <a:pt x="5964574" y="32440"/>
                  <a:pt x="6000734" y="49593"/>
                  <a:pt x="6037061" y="65738"/>
                </a:cubicBezTo>
                <a:cubicBezTo>
                  <a:pt x="6123171" y="111479"/>
                  <a:pt x="6195826" y="176056"/>
                  <a:pt x="6287317" y="211037"/>
                </a:cubicBezTo>
                <a:cubicBezTo>
                  <a:pt x="6217353" y="143769"/>
                  <a:pt x="6133934" y="103408"/>
                  <a:pt x="6050517" y="54974"/>
                </a:cubicBezTo>
                <a:cubicBezTo>
                  <a:pt x="6022935" y="36139"/>
                  <a:pt x="5994343" y="18986"/>
                  <a:pt x="5964995" y="3094"/>
                </a:cubicBezTo>
                <a:lnTo>
                  <a:pt x="5958708" y="0"/>
                </a:lnTo>
                <a:lnTo>
                  <a:pt x="6034737" y="0"/>
                </a:lnTo>
                <a:lnTo>
                  <a:pt x="6100298" y="33785"/>
                </a:lnTo>
                <a:cubicBezTo>
                  <a:pt x="6179007" y="78518"/>
                  <a:pt x="6256371" y="126279"/>
                  <a:pt x="6333063" y="176056"/>
                </a:cubicBezTo>
                <a:cubicBezTo>
                  <a:pt x="6335754" y="178747"/>
                  <a:pt x="6341136" y="178747"/>
                  <a:pt x="6349209" y="178747"/>
                </a:cubicBezTo>
                <a:cubicBezTo>
                  <a:pt x="6362663" y="143769"/>
                  <a:pt x="6354590" y="122243"/>
                  <a:pt x="6319607" y="100717"/>
                </a:cubicBezTo>
                <a:lnTo>
                  <a:pt x="6159296" y="0"/>
                </a:lnTo>
                <a:lnTo>
                  <a:pt x="6494412" y="0"/>
                </a:lnTo>
                <a:lnTo>
                  <a:pt x="6530564" y="24963"/>
                </a:lnTo>
                <a:lnTo>
                  <a:pt x="6530564" y="2283869"/>
                </a:lnTo>
                <a:lnTo>
                  <a:pt x="6452592" y="2135053"/>
                </a:lnTo>
                <a:cubicBezTo>
                  <a:pt x="6368738" y="1991179"/>
                  <a:pt x="6272827" y="1856596"/>
                  <a:pt x="6165817" y="1732932"/>
                </a:cubicBezTo>
                <a:cubicBezTo>
                  <a:pt x="6052481" y="1591083"/>
                  <a:pt x="5916785" y="1458895"/>
                  <a:pt x="5773745" y="1338044"/>
                </a:cubicBezTo>
                <a:cubicBezTo>
                  <a:pt x="5779413" y="1341717"/>
                  <a:pt x="5779413" y="1341717"/>
                  <a:pt x="5784085" y="1340719"/>
                </a:cubicBezTo>
                <a:cubicBezTo>
                  <a:pt x="5771750" y="1328702"/>
                  <a:pt x="5742407" y="1305666"/>
                  <a:pt x="5718731" y="1286303"/>
                </a:cubicBezTo>
                <a:cubicBezTo>
                  <a:pt x="5701725" y="1275284"/>
                  <a:pt x="5689388" y="1263266"/>
                  <a:pt x="5679049" y="1260591"/>
                </a:cubicBezTo>
                <a:cubicBezTo>
                  <a:pt x="5639367" y="1234880"/>
                  <a:pt x="5598685" y="1204498"/>
                  <a:pt x="5559003" y="1178786"/>
                </a:cubicBezTo>
                <a:cubicBezTo>
                  <a:pt x="5546667" y="1166769"/>
                  <a:pt x="5529659" y="1155750"/>
                  <a:pt x="5513651" y="1149403"/>
                </a:cubicBezTo>
                <a:cubicBezTo>
                  <a:pt x="5382265" y="1060250"/>
                  <a:pt x="5239864" y="988106"/>
                  <a:pt x="5089115" y="922629"/>
                </a:cubicBezTo>
                <a:cubicBezTo>
                  <a:pt x="5136145" y="937001"/>
                  <a:pt x="5183173" y="951374"/>
                  <a:pt x="5219861" y="963072"/>
                </a:cubicBezTo>
                <a:cubicBezTo>
                  <a:pt x="5221858" y="972417"/>
                  <a:pt x="5242538" y="977766"/>
                  <a:pt x="5243535" y="982437"/>
                </a:cubicBezTo>
                <a:cubicBezTo>
                  <a:pt x="5285894" y="997808"/>
                  <a:pt x="5335917" y="1026195"/>
                  <a:pt x="5376279" y="1032223"/>
                </a:cubicBezTo>
                <a:cubicBezTo>
                  <a:pt x="5359273" y="1021205"/>
                  <a:pt x="5336597" y="1006512"/>
                  <a:pt x="5339271" y="996174"/>
                </a:cubicBezTo>
                <a:cubicBezTo>
                  <a:pt x="5311925" y="982478"/>
                  <a:pt x="5246891" y="952416"/>
                  <a:pt x="5227209" y="951735"/>
                </a:cubicBezTo>
                <a:cubicBezTo>
                  <a:pt x="5215871" y="944390"/>
                  <a:pt x="5209205" y="936045"/>
                  <a:pt x="5203535" y="932372"/>
                </a:cubicBezTo>
                <a:cubicBezTo>
                  <a:pt x="5171517" y="919677"/>
                  <a:pt x="5146165" y="915324"/>
                  <a:pt x="5115146" y="907298"/>
                </a:cubicBezTo>
                <a:cubicBezTo>
                  <a:pt x="5093467" y="897276"/>
                  <a:pt x="5054783" y="876237"/>
                  <a:pt x="5028434" y="867212"/>
                </a:cubicBezTo>
                <a:cubicBezTo>
                  <a:pt x="5018094" y="864537"/>
                  <a:pt x="5014421" y="870207"/>
                  <a:pt x="5004080" y="867531"/>
                </a:cubicBezTo>
                <a:cubicBezTo>
                  <a:pt x="4993741" y="864858"/>
                  <a:pt x="4975737" y="849166"/>
                  <a:pt x="4965395" y="846491"/>
                </a:cubicBezTo>
                <a:cubicBezTo>
                  <a:pt x="4933378" y="833794"/>
                  <a:pt x="4919364" y="836789"/>
                  <a:pt x="4917369" y="827446"/>
                </a:cubicBezTo>
                <a:cubicBezTo>
                  <a:pt x="4897687" y="826767"/>
                  <a:pt x="4866667" y="818742"/>
                  <a:pt x="4859320" y="830080"/>
                </a:cubicBezTo>
                <a:cubicBezTo>
                  <a:pt x="4879003" y="830759"/>
                  <a:pt x="4875330" y="836428"/>
                  <a:pt x="4876327" y="841099"/>
                </a:cubicBezTo>
                <a:cubicBezTo>
                  <a:pt x="4413385" y="686027"/>
                  <a:pt x="3907001" y="647686"/>
                  <a:pt x="3393185" y="757460"/>
                </a:cubicBezTo>
                <a:lnTo>
                  <a:pt x="3342975" y="770687"/>
                </a:lnTo>
                <a:lnTo>
                  <a:pt x="3291917" y="780409"/>
                </a:lnTo>
                <a:cubicBezTo>
                  <a:pt x="2973092" y="853467"/>
                  <a:pt x="2679548" y="994128"/>
                  <a:pt x="2400079" y="1173988"/>
                </a:cubicBezTo>
                <a:cubicBezTo>
                  <a:pt x="2357675" y="1203326"/>
                  <a:pt x="2312502" y="1229200"/>
                  <a:pt x="2269683" y="1256599"/>
                </a:cubicBezTo>
                <a:cubicBezTo>
                  <a:pt x="2262754" y="1262135"/>
                  <a:pt x="2257068" y="1273490"/>
                  <a:pt x="2246824" y="1263510"/>
                </a:cubicBezTo>
                <a:cubicBezTo>
                  <a:pt x="2236994" y="1255472"/>
                  <a:pt x="2238801" y="1244946"/>
                  <a:pt x="2244901" y="1235531"/>
                </a:cubicBezTo>
                <a:cubicBezTo>
                  <a:pt x="2258628" y="1214348"/>
                  <a:pt x="2277477" y="1198153"/>
                  <a:pt x="2297569" y="1187778"/>
                </a:cubicBezTo>
                <a:cubicBezTo>
                  <a:pt x="2412582" y="1118591"/>
                  <a:pt x="2522339" y="1034306"/>
                  <a:pt x="2654790" y="989786"/>
                </a:cubicBezTo>
                <a:cubicBezTo>
                  <a:pt x="2640950" y="972465"/>
                  <a:pt x="2621271" y="984780"/>
                  <a:pt x="2604795" y="974104"/>
                </a:cubicBezTo>
                <a:cubicBezTo>
                  <a:pt x="2642906" y="943655"/>
                  <a:pt x="2685444" y="924427"/>
                  <a:pt x="2728393" y="907142"/>
                </a:cubicBezTo>
                <a:cubicBezTo>
                  <a:pt x="3024345" y="783076"/>
                  <a:pt x="3326509" y="688101"/>
                  <a:pt x="3647056" y="660175"/>
                </a:cubicBezTo>
                <a:cubicBezTo>
                  <a:pt x="3872435" y="642443"/>
                  <a:pt x="4096551" y="647286"/>
                  <a:pt x="4318016" y="687170"/>
                </a:cubicBezTo>
                <a:cubicBezTo>
                  <a:pt x="4385465" y="699121"/>
                  <a:pt x="4446533" y="728661"/>
                  <a:pt x="4516487" y="723856"/>
                </a:cubicBezTo>
                <a:cubicBezTo>
                  <a:pt x="4534357" y="722064"/>
                  <a:pt x="4557763" y="727203"/>
                  <a:pt x="4557781" y="698810"/>
                </a:cubicBezTo>
                <a:cubicBezTo>
                  <a:pt x="4559739" y="670001"/>
                  <a:pt x="4535353" y="679267"/>
                  <a:pt x="4518180" y="674824"/>
                </a:cubicBezTo>
                <a:cubicBezTo>
                  <a:pt x="4497541" y="673149"/>
                  <a:pt x="4471499" y="674658"/>
                  <a:pt x="4454063" y="649993"/>
                </a:cubicBezTo>
                <a:cubicBezTo>
                  <a:pt x="4579151" y="637464"/>
                  <a:pt x="4694375" y="673682"/>
                  <a:pt x="4809052" y="697851"/>
                </a:cubicBezTo>
                <a:cubicBezTo>
                  <a:pt x="4878159" y="717561"/>
                  <a:pt x="4940470" y="752918"/>
                  <a:pt x="5011799" y="764041"/>
                </a:cubicBezTo>
                <a:cubicBezTo>
                  <a:pt x="4951013" y="726331"/>
                  <a:pt x="4884674" y="710086"/>
                  <a:pt x="4817092" y="688021"/>
                </a:cubicBezTo>
                <a:cubicBezTo>
                  <a:pt x="4725971" y="650709"/>
                  <a:pt x="4627357" y="635277"/>
                  <a:pt x="4528741" y="619842"/>
                </a:cubicBezTo>
                <a:cubicBezTo>
                  <a:pt x="4260185" y="577853"/>
                  <a:pt x="3989536" y="554560"/>
                  <a:pt x="3716648" y="568249"/>
                </a:cubicBezTo>
                <a:cubicBezTo>
                  <a:pt x="3682848" y="571413"/>
                  <a:pt x="3645865" y="569175"/>
                  <a:pt x="3612199" y="582452"/>
                </a:cubicBezTo>
                <a:cubicBezTo>
                  <a:pt x="3616756" y="603785"/>
                  <a:pt x="3633383" y="596177"/>
                  <a:pt x="3645435" y="595629"/>
                </a:cubicBezTo>
                <a:cubicBezTo>
                  <a:pt x="3875105" y="579008"/>
                  <a:pt x="4105457" y="584547"/>
                  <a:pt x="4335789" y="618481"/>
                </a:cubicBezTo>
                <a:cubicBezTo>
                  <a:pt x="4348253" y="619874"/>
                  <a:pt x="4371114" y="612962"/>
                  <a:pt x="4369439" y="633599"/>
                </a:cubicBezTo>
                <a:cubicBezTo>
                  <a:pt x="4367764" y="654235"/>
                  <a:pt x="4345187" y="652975"/>
                  <a:pt x="4330367" y="650057"/>
                </a:cubicBezTo>
                <a:cubicBezTo>
                  <a:pt x="4257512" y="641288"/>
                  <a:pt x="4184940" y="624346"/>
                  <a:pt x="4109450" y="622223"/>
                </a:cubicBezTo>
                <a:cubicBezTo>
                  <a:pt x="3783385" y="614827"/>
                  <a:pt x="3459524" y="627237"/>
                  <a:pt x="3144894" y="720819"/>
                </a:cubicBezTo>
                <a:cubicBezTo>
                  <a:pt x="2900781" y="793251"/>
                  <a:pt x="2670360" y="901288"/>
                  <a:pt x="2449900" y="1027476"/>
                </a:cubicBezTo>
                <a:cubicBezTo>
                  <a:pt x="2404727" y="1053349"/>
                  <a:pt x="2357614" y="1079638"/>
                  <a:pt x="2308845" y="1098169"/>
                </a:cubicBezTo>
                <a:cubicBezTo>
                  <a:pt x="2636030" y="864009"/>
                  <a:pt x="2999184" y="703280"/>
                  <a:pt x="3399136" y="619861"/>
                </a:cubicBezTo>
                <a:cubicBezTo>
                  <a:pt x="3380587" y="599489"/>
                  <a:pt x="3359384" y="614158"/>
                  <a:pt x="3330855" y="604030"/>
                </a:cubicBezTo>
                <a:cubicBezTo>
                  <a:pt x="3400677" y="589112"/>
                  <a:pt x="3460803" y="576266"/>
                  <a:pt x="3520230" y="569654"/>
                </a:cubicBezTo>
                <a:cubicBezTo>
                  <a:pt x="3609580" y="560703"/>
                  <a:pt x="3699343" y="553695"/>
                  <a:pt x="3790217" y="542392"/>
                </a:cubicBezTo>
                <a:cubicBezTo>
                  <a:pt x="3796450" y="543088"/>
                  <a:pt x="3811685" y="547944"/>
                  <a:pt x="3810723" y="533954"/>
                </a:cubicBezTo>
                <a:cubicBezTo>
                  <a:pt x="3812117" y="521489"/>
                  <a:pt x="3798540" y="524390"/>
                  <a:pt x="3790368" y="524109"/>
                </a:cubicBezTo>
                <a:cubicBezTo>
                  <a:pt x="3677198" y="525980"/>
                  <a:pt x="3566249" y="519265"/>
                  <a:pt x="3455830" y="552995"/>
                </a:cubicBezTo>
                <a:cubicBezTo>
                  <a:pt x="3431446" y="562261"/>
                  <a:pt x="3401392" y="554486"/>
                  <a:pt x="3373410" y="556409"/>
                </a:cubicBezTo>
                <a:cubicBezTo>
                  <a:pt x="3256777" y="561047"/>
                  <a:pt x="3151198" y="607938"/>
                  <a:pt x="3041191" y="643608"/>
                </a:cubicBezTo>
                <a:cubicBezTo>
                  <a:pt x="2797211" y="726152"/>
                  <a:pt x="2563608" y="828785"/>
                  <a:pt x="2341622" y="957326"/>
                </a:cubicBezTo>
                <a:cubicBezTo>
                  <a:pt x="2202226" y="1035776"/>
                  <a:pt x="2083448" y="1144297"/>
                  <a:pt x="1953599" y="1238958"/>
                </a:cubicBezTo>
                <a:cubicBezTo>
                  <a:pt x="1942791" y="1245322"/>
                  <a:pt x="1930456" y="1254041"/>
                  <a:pt x="1914658" y="1265528"/>
                </a:cubicBezTo>
                <a:cubicBezTo>
                  <a:pt x="1915373" y="1230902"/>
                  <a:pt x="1930211" y="1205424"/>
                  <a:pt x="1953768" y="1192281"/>
                </a:cubicBezTo>
                <a:cubicBezTo>
                  <a:pt x="2070022" y="1128914"/>
                  <a:pt x="2162889" y="1032014"/>
                  <a:pt x="2273195" y="959778"/>
                </a:cubicBezTo>
                <a:cubicBezTo>
                  <a:pt x="2628081" y="731867"/>
                  <a:pt x="3011588" y="580986"/>
                  <a:pt x="3429259" y="514058"/>
                </a:cubicBezTo>
                <a:cubicBezTo>
                  <a:pt x="3602008" y="487291"/>
                  <a:pt x="3774041" y="495152"/>
                  <a:pt x="3947467" y="490544"/>
                </a:cubicBezTo>
                <a:cubicBezTo>
                  <a:pt x="4168684" y="481812"/>
                  <a:pt x="4386005" y="502302"/>
                  <a:pt x="4596509" y="566835"/>
                </a:cubicBezTo>
                <a:cubicBezTo>
                  <a:pt x="4616037" y="572801"/>
                  <a:pt x="4636260" y="572538"/>
                  <a:pt x="4640121" y="600103"/>
                </a:cubicBezTo>
                <a:cubicBezTo>
                  <a:pt x="4639840" y="608275"/>
                  <a:pt x="4648842" y="612435"/>
                  <a:pt x="4657014" y="612717"/>
                </a:cubicBezTo>
                <a:cubicBezTo>
                  <a:pt x="4786923" y="641743"/>
                  <a:pt x="4913502" y="683647"/>
                  <a:pt x="5039385" y="731785"/>
                </a:cubicBezTo>
                <a:cubicBezTo>
                  <a:pt x="5041737" y="733309"/>
                  <a:pt x="5045617" y="732481"/>
                  <a:pt x="5051435" y="731238"/>
                </a:cubicBezTo>
                <a:cubicBezTo>
                  <a:pt x="5055747" y="703956"/>
                  <a:pt x="5046613" y="689683"/>
                  <a:pt x="5018085" y="679555"/>
                </a:cubicBezTo>
                <a:cubicBezTo>
                  <a:pt x="4824207" y="607415"/>
                  <a:pt x="4631439" y="530982"/>
                  <a:pt x="4427845" y="489308"/>
                </a:cubicBezTo>
                <a:lnTo>
                  <a:pt x="4310509" y="471335"/>
                </a:lnTo>
                <a:lnTo>
                  <a:pt x="4176892" y="462604"/>
                </a:lnTo>
                <a:cubicBezTo>
                  <a:pt x="4103169" y="460013"/>
                  <a:pt x="4028959" y="459592"/>
                  <a:pt x="3954287" y="461274"/>
                </a:cubicBezTo>
                <a:cubicBezTo>
                  <a:pt x="3873558" y="461274"/>
                  <a:pt x="3790139" y="463965"/>
                  <a:pt x="3706721" y="469347"/>
                </a:cubicBezTo>
                <a:lnTo>
                  <a:pt x="3819638" y="441228"/>
                </a:lnTo>
                <a:lnTo>
                  <a:pt x="3678438" y="446944"/>
                </a:lnTo>
                <a:cubicBezTo>
                  <a:pt x="3595111" y="454417"/>
                  <a:pt x="3511778" y="466010"/>
                  <a:pt x="3428450" y="481785"/>
                </a:cubicBezTo>
                <a:cubicBezTo>
                  <a:pt x="3241428" y="517687"/>
                  <a:pt x="3054409" y="553586"/>
                  <a:pt x="2876370" y="622042"/>
                </a:cubicBezTo>
                <a:cubicBezTo>
                  <a:pt x="2807509" y="650949"/>
                  <a:pt x="2731736" y="656997"/>
                  <a:pt x="2659974" y="672328"/>
                </a:cubicBezTo>
                <a:cubicBezTo>
                  <a:pt x="2772757" y="625926"/>
                  <a:pt x="2886957" y="583784"/>
                  <a:pt x="3002779" y="546873"/>
                </a:cubicBezTo>
                <a:lnTo>
                  <a:pt x="3243522" y="482631"/>
                </a:lnTo>
                <a:lnTo>
                  <a:pt x="3245900" y="478428"/>
                </a:lnTo>
                <a:cubicBezTo>
                  <a:pt x="3251955" y="475401"/>
                  <a:pt x="3258682" y="473383"/>
                  <a:pt x="3260028" y="466656"/>
                </a:cubicBezTo>
                <a:cubicBezTo>
                  <a:pt x="3257337" y="463965"/>
                  <a:pt x="3254646" y="461274"/>
                  <a:pt x="3251955" y="461274"/>
                </a:cubicBezTo>
                <a:cubicBezTo>
                  <a:pt x="3198135" y="461274"/>
                  <a:pt x="3149699" y="474729"/>
                  <a:pt x="3098571" y="490872"/>
                </a:cubicBezTo>
                <a:cubicBezTo>
                  <a:pt x="2945189" y="541997"/>
                  <a:pt x="2797189" y="601193"/>
                  <a:pt x="2651879" y="673842"/>
                </a:cubicBezTo>
                <a:cubicBezTo>
                  <a:pt x="2619588" y="689986"/>
                  <a:pt x="2587296" y="700749"/>
                  <a:pt x="2549624" y="692677"/>
                </a:cubicBezTo>
                <a:cubicBezTo>
                  <a:pt x="2514642" y="687297"/>
                  <a:pt x="2485041" y="711513"/>
                  <a:pt x="2455442" y="727656"/>
                </a:cubicBezTo>
                <a:cubicBezTo>
                  <a:pt x="2404315" y="754563"/>
                  <a:pt x="2353186" y="768018"/>
                  <a:pt x="2291295" y="751874"/>
                </a:cubicBezTo>
                <a:cubicBezTo>
                  <a:pt x="2751443" y="469347"/>
                  <a:pt x="3235809" y="278306"/>
                  <a:pt x="3763231" y="200274"/>
                </a:cubicBezTo>
                <a:cubicBezTo>
                  <a:pt x="3354210" y="248706"/>
                  <a:pt x="2947880" y="307904"/>
                  <a:pt x="2579224" y="507017"/>
                </a:cubicBezTo>
                <a:cubicBezTo>
                  <a:pt x="2888680" y="294449"/>
                  <a:pt x="3243881" y="211037"/>
                  <a:pt x="3604465" y="146459"/>
                </a:cubicBezTo>
                <a:cubicBezTo>
                  <a:pt x="3967741" y="81881"/>
                  <a:pt x="4331015" y="111479"/>
                  <a:pt x="4702363" y="165295"/>
                </a:cubicBezTo>
                <a:cubicBezTo>
                  <a:pt x="4680835" y="135697"/>
                  <a:pt x="4653927" y="135697"/>
                  <a:pt x="4632399" y="133006"/>
                </a:cubicBezTo>
                <a:cubicBezTo>
                  <a:pt x="4374071" y="95336"/>
                  <a:pt x="4115741" y="71119"/>
                  <a:pt x="3854723" y="89954"/>
                </a:cubicBezTo>
                <a:cubicBezTo>
                  <a:pt x="3822431" y="92645"/>
                  <a:pt x="3790139" y="95336"/>
                  <a:pt x="3763231" y="76501"/>
                </a:cubicBezTo>
                <a:cubicBezTo>
                  <a:pt x="3749775" y="68429"/>
                  <a:pt x="3739012" y="68429"/>
                  <a:pt x="3728249" y="73810"/>
                </a:cubicBezTo>
                <a:cubicBezTo>
                  <a:pt x="3609847" y="124933"/>
                  <a:pt x="3480684" y="133006"/>
                  <a:pt x="3356901" y="157222"/>
                </a:cubicBezTo>
                <a:cubicBezTo>
                  <a:pt x="3106645" y="205656"/>
                  <a:pt x="2867152" y="283686"/>
                  <a:pt x="2633042" y="383243"/>
                </a:cubicBezTo>
                <a:cubicBezTo>
                  <a:pt x="2614206" y="391315"/>
                  <a:pt x="2595370" y="404770"/>
                  <a:pt x="2565769" y="396697"/>
                </a:cubicBezTo>
                <a:cubicBezTo>
                  <a:pt x="2748752" y="283686"/>
                  <a:pt x="2950571" y="229872"/>
                  <a:pt x="3141627" y="151840"/>
                </a:cubicBezTo>
                <a:cubicBezTo>
                  <a:pt x="3012463" y="165295"/>
                  <a:pt x="2896753" y="237944"/>
                  <a:pt x="2756825" y="229872"/>
                </a:cubicBezTo>
                <a:cubicBezTo>
                  <a:pt x="2789116" y="192202"/>
                  <a:pt x="2824099" y="178747"/>
                  <a:pt x="2861770" y="170676"/>
                </a:cubicBezTo>
                <a:cubicBezTo>
                  <a:pt x="2950571" y="154531"/>
                  <a:pt x="3036681" y="135697"/>
                  <a:pt x="3120100" y="103408"/>
                </a:cubicBezTo>
                <a:cubicBezTo>
                  <a:pt x="3184681" y="76501"/>
                  <a:pt x="3251955" y="89954"/>
                  <a:pt x="3319228" y="76501"/>
                </a:cubicBezTo>
                <a:cubicBezTo>
                  <a:pt x="3351519" y="71119"/>
                  <a:pt x="3381119" y="65738"/>
                  <a:pt x="3399956" y="33449"/>
                </a:cubicBezTo>
                <a:cubicBezTo>
                  <a:pt x="3413410" y="14613"/>
                  <a:pt x="3434938" y="11922"/>
                  <a:pt x="3456465" y="6542"/>
                </a:cubicBezTo>
                <a:close/>
                <a:moveTo>
                  <a:pt x="2942330" y="0"/>
                </a:moveTo>
                <a:lnTo>
                  <a:pt x="3174123" y="0"/>
                </a:lnTo>
                <a:lnTo>
                  <a:pt x="3100717" y="23190"/>
                </a:lnTo>
                <a:cubicBezTo>
                  <a:pt x="3070822" y="34458"/>
                  <a:pt x="3041390" y="47575"/>
                  <a:pt x="3012463" y="63047"/>
                </a:cubicBezTo>
                <a:cubicBezTo>
                  <a:pt x="2829480" y="157222"/>
                  <a:pt x="2624969" y="205656"/>
                  <a:pt x="2439295" y="291759"/>
                </a:cubicBezTo>
                <a:cubicBezTo>
                  <a:pt x="2420460" y="299831"/>
                  <a:pt x="2393550" y="310594"/>
                  <a:pt x="2380096" y="291759"/>
                </a:cubicBezTo>
                <a:cubicBezTo>
                  <a:pt x="2366641" y="272924"/>
                  <a:pt x="2382786" y="248706"/>
                  <a:pt x="2396241" y="229872"/>
                </a:cubicBezTo>
                <a:cubicBezTo>
                  <a:pt x="2409696" y="211037"/>
                  <a:pt x="2431223" y="197583"/>
                  <a:pt x="2452751" y="189511"/>
                </a:cubicBezTo>
                <a:cubicBezTo>
                  <a:pt x="2580570" y="142423"/>
                  <a:pt x="2707043" y="89281"/>
                  <a:pt x="2834861" y="39503"/>
                </a:cubicBezTo>
                <a:close/>
                <a:moveTo>
                  <a:pt x="2576296" y="0"/>
                </a:moveTo>
                <a:lnTo>
                  <a:pt x="2746997" y="0"/>
                </a:lnTo>
                <a:lnTo>
                  <a:pt x="2705697" y="14613"/>
                </a:lnTo>
                <a:cubicBezTo>
                  <a:pt x="2641116" y="41521"/>
                  <a:pt x="2573842" y="63047"/>
                  <a:pt x="2509260" y="87263"/>
                </a:cubicBezTo>
                <a:cubicBezTo>
                  <a:pt x="2498497" y="92645"/>
                  <a:pt x="2487732" y="106099"/>
                  <a:pt x="2476969" y="89954"/>
                </a:cubicBezTo>
                <a:cubicBezTo>
                  <a:pt x="2466205" y="76501"/>
                  <a:pt x="2471587" y="63047"/>
                  <a:pt x="2482350" y="52283"/>
                </a:cubicBezTo>
                <a:cubicBezTo>
                  <a:pt x="2506569" y="28067"/>
                  <a:pt x="2536169" y="11922"/>
                  <a:pt x="2565769" y="3850"/>
                </a:cubicBezTo>
                <a:close/>
              </a:path>
            </a:pathLst>
          </a:custGeom>
          <a:solidFill>
            <a:schemeClr val="bg1">
              <a:lumMod val="95000"/>
            </a:schemeClr>
          </a:solidFill>
        </p:spPr>
        <p:txBody>
          <a:bodyPr wrap="square" anchor="ctr">
            <a:noAutofit/>
          </a:bodyPr>
          <a:lstStyle>
            <a:lvl1pPr marL="0" indent="0" algn="ctr">
              <a:buNone/>
              <a:defRPr sz="1200">
                <a:latin typeface="Arial" pitchFamily="34" charset="0"/>
                <a:cs typeface="Arial" pitchFamily="34"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3981289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nk Page">
    <p:bg>
      <p:bgPr>
        <a:solidFill>
          <a:srgbClr val="2042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55171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2429D0-1C1C-42E4-B7F6-E7D3097B45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F0D5DFB-0083-4A56-AB38-EB3EA6FC31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10EA82-4810-4D2B-825B-CECD0B3D6F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B64A66-D302-419B-8627-2EEFA32D157A}" type="datetimeFigureOut">
              <a:rPr lang="en-US" smtClean="0"/>
              <a:t>2/18/2023</a:t>
            </a:fld>
            <a:endParaRPr lang="en-US"/>
          </a:p>
        </p:txBody>
      </p:sp>
      <p:sp>
        <p:nvSpPr>
          <p:cNvPr id="5" name="Footer Placeholder 4">
            <a:extLst>
              <a:ext uri="{FF2B5EF4-FFF2-40B4-BE49-F238E27FC236}">
                <a16:creationId xmlns:a16="http://schemas.microsoft.com/office/drawing/2014/main" id="{A40E8F5D-D32B-4A26-A31B-5B30430D71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6B943A1-1B98-4DF3-8210-82411B5C32C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CA1564-7A75-4133-B187-E9EBBC6305BE}" type="slidenum">
              <a:rPr lang="en-US" smtClean="0"/>
              <a:t>‹#›</a:t>
            </a:fld>
            <a:endParaRPr lang="en-US"/>
          </a:p>
        </p:txBody>
      </p:sp>
      <p:pic>
        <p:nvPicPr>
          <p:cNvPr id="7" name="Picture 6">
            <a:extLst>
              <a:ext uri="{FF2B5EF4-FFF2-40B4-BE49-F238E27FC236}">
                <a16:creationId xmlns:a16="http://schemas.microsoft.com/office/drawing/2014/main" id="{63F63C9C-B074-4CDD-AE82-ACC8AD78F64B}"/>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107432" y="91267"/>
            <a:ext cx="1329937" cy="412779"/>
          </a:xfrm>
          <a:prstGeom prst="rect">
            <a:avLst/>
          </a:prstGeom>
        </p:spPr>
      </p:pic>
    </p:spTree>
    <p:extLst>
      <p:ext uri="{BB962C8B-B14F-4D97-AF65-F5344CB8AC3E}">
        <p14:creationId xmlns:p14="http://schemas.microsoft.com/office/powerpoint/2010/main" val="29887033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aws.amazon.com/s3/features/"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docs.aws.amazon.com/AWSEC2/latest/UserGuide/using-regions-availability-zones.html" TargetMode="External"/><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https://docs.aws.amazon.com/AWSEC2/latest/UserGuide/using-regions-availability-zones.html"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3A631-E996-4245-96F9-B3DBA35BF115}"/>
              </a:ext>
            </a:extLst>
          </p:cNvPr>
          <p:cNvSpPr>
            <a:spLocks noGrp="1"/>
          </p:cNvSpPr>
          <p:nvPr>
            <p:ph type="title"/>
          </p:nvPr>
        </p:nvSpPr>
        <p:spPr>
          <a:xfrm>
            <a:off x="2375106" y="141923"/>
            <a:ext cx="10515600" cy="347541"/>
          </a:xfrm>
        </p:spPr>
        <p:txBody>
          <a:bodyPr>
            <a:normAutofit fontScale="90000"/>
          </a:bodyPr>
          <a:lstStyle/>
          <a:p>
            <a:r>
              <a:rPr lang="en-US" b="1" dirty="0" smtClean="0"/>
              <a:t>AWS DevOps Professiona</a:t>
            </a:r>
            <a:r>
              <a:rPr lang="en-US" b="1" dirty="0"/>
              <a:t>l</a:t>
            </a:r>
          </a:p>
        </p:txBody>
      </p:sp>
      <p:sp>
        <p:nvSpPr>
          <p:cNvPr id="3" name="Content Placeholder 2">
            <a:extLst>
              <a:ext uri="{FF2B5EF4-FFF2-40B4-BE49-F238E27FC236}">
                <a16:creationId xmlns:a16="http://schemas.microsoft.com/office/drawing/2014/main" id="{76E0047F-30DC-489F-92D1-3939CE53C307}"/>
              </a:ext>
            </a:extLst>
          </p:cNvPr>
          <p:cNvSpPr>
            <a:spLocks noGrp="1"/>
          </p:cNvSpPr>
          <p:nvPr>
            <p:ph idx="1"/>
          </p:nvPr>
        </p:nvSpPr>
        <p:spPr/>
        <p:txBody>
          <a:bodyPr>
            <a:normAutofit/>
          </a:bodyPr>
          <a:lstStyle/>
          <a:p>
            <a:pPr marL="0" indent="0">
              <a:buNone/>
            </a:pPr>
            <a:endParaRPr lang="en-US" dirty="0"/>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146252646"/>
              </p:ext>
            </p:extLst>
          </p:nvPr>
        </p:nvGraphicFramePr>
        <p:xfrm>
          <a:off x="204247" y="489464"/>
          <a:ext cx="11783505" cy="6451661"/>
        </p:xfrm>
        <a:graphic>
          <a:graphicData uri="http://schemas.openxmlformats.org/drawingml/2006/table">
            <a:tbl>
              <a:tblPr>
                <a:tableStyleId>{5C22544A-7EE6-4342-B048-85BDC9FD1C3A}</a:tableStyleId>
              </a:tblPr>
              <a:tblGrid>
                <a:gridCol w="6720539">
                  <a:extLst>
                    <a:ext uri="{9D8B030D-6E8A-4147-A177-3AD203B41FA5}">
                      <a16:colId xmlns:a16="http://schemas.microsoft.com/office/drawing/2014/main" val="2686848345"/>
                    </a:ext>
                  </a:extLst>
                </a:gridCol>
                <a:gridCol w="5062966">
                  <a:extLst>
                    <a:ext uri="{9D8B030D-6E8A-4147-A177-3AD203B41FA5}">
                      <a16:colId xmlns:a16="http://schemas.microsoft.com/office/drawing/2014/main" val="3888526921"/>
                    </a:ext>
                  </a:extLst>
                </a:gridCol>
              </a:tblGrid>
              <a:tr h="249764">
                <a:tc>
                  <a:txBody>
                    <a:bodyPr/>
                    <a:lstStyle/>
                    <a:p>
                      <a:pPr algn="l" fontAlgn="b"/>
                      <a:r>
                        <a:rPr lang="en-US" sz="1600" b="1" u="none" strike="noStrike" dirty="0">
                          <a:effectLst/>
                        </a:rPr>
                        <a:t>Course Introduction</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093400711"/>
                  </a:ext>
                </a:extLst>
              </a:tr>
              <a:tr h="249764">
                <a:tc>
                  <a:txBody>
                    <a:bodyPr/>
                    <a:lstStyle/>
                    <a:p>
                      <a:pPr algn="l" fontAlgn="b"/>
                      <a:r>
                        <a:rPr lang="en-US" sz="1600" b="1" u="none" strike="noStrike" dirty="0">
                          <a:effectLst/>
                        </a:rPr>
                        <a:t>AWS Regions and </a:t>
                      </a:r>
                      <a:r>
                        <a:rPr lang="en-US" sz="1600" b="1" u="none" strike="noStrike" dirty="0" err="1">
                          <a:effectLst/>
                        </a:rPr>
                        <a:t>Availabilty</a:t>
                      </a:r>
                      <a:r>
                        <a:rPr lang="en-US" sz="1600" b="1" u="none" strike="noStrike" dirty="0">
                          <a:effectLst/>
                        </a:rPr>
                        <a:t> Zones</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491318240"/>
                  </a:ext>
                </a:extLst>
              </a:tr>
              <a:tr h="279067">
                <a:tc>
                  <a:txBody>
                    <a:bodyPr/>
                    <a:lstStyle/>
                    <a:p>
                      <a:pPr algn="l" fontAlgn="b"/>
                      <a:r>
                        <a:rPr lang="en-US" sz="1600" b="1" u="none" strike="noStrike" dirty="0">
                          <a:effectLst/>
                        </a:rPr>
                        <a:t>Major Services</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409473098"/>
                  </a:ext>
                </a:extLst>
              </a:tr>
              <a:tr h="249764">
                <a:tc>
                  <a:txBody>
                    <a:bodyPr/>
                    <a:lstStyle/>
                    <a:p>
                      <a:pPr algn="l" fontAlgn="b"/>
                      <a:r>
                        <a:rPr lang="en-US" sz="1600" b="1" u="none" strike="noStrike" dirty="0">
                          <a:effectLst/>
                        </a:rPr>
                        <a:t>VPC</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581207746"/>
                  </a:ext>
                </a:extLst>
              </a:tr>
              <a:tr h="249764">
                <a:tc>
                  <a:txBody>
                    <a:bodyPr/>
                    <a:lstStyle/>
                    <a:p>
                      <a:pPr algn="l" fontAlgn="b"/>
                      <a:r>
                        <a:rPr lang="en-US" sz="1600" u="none" strike="noStrike" dirty="0">
                          <a:effectLst/>
                        </a:rPr>
                        <a:t>Trusted </a:t>
                      </a:r>
                      <a:r>
                        <a:rPr lang="en-US" sz="1600" u="none" strike="noStrike" dirty="0" err="1">
                          <a:effectLst/>
                        </a:rPr>
                        <a:t>Advisior</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82921493"/>
                  </a:ext>
                </a:extLst>
              </a:tr>
              <a:tr h="249764">
                <a:tc>
                  <a:txBody>
                    <a:bodyPr/>
                    <a:lstStyle/>
                    <a:p>
                      <a:pPr algn="l" fontAlgn="b"/>
                      <a:r>
                        <a:rPr lang="en-US" sz="1600" u="none" strike="noStrike">
                          <a:effectLst/>
                        </a:rPr>
                        <a:t>AWS Cloud Trail</a:t>
                      </a:r>
                      <a:endParaRPr lang="en-US" sz="16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233971834"/>
                  </a:ext>
                </a:extLst>
              </a:tr>
              <a:tr h="249764">
                <a:tc>
                  <a:txBody>
                    <a:bodyPr/>
                    <a:lstStyle/>
                    <a:p>
                      <a:pPr algn="l" fontAlgn="b"/>
                      <a:r>
                        <a:rPr lang="en-US" sz="1600" u="none" strike="noStrike" dirty="0">
                          <a:solidFill>
                            <a:schemeClr val="accent6"/>
                          </a:solidFill>
                          <a:effectLst/>
                        </a:rPr>
                        <a:t>IAM</a:t>
                      </a:r>
                      <a:endParaRPr lang="en-US" sz="1600" b="0" i="0" u="none" strike="noStrike" dirty="0">
                        <a:solidFill>
                          <a:schemeClr val="accent6"/>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98625344"/>
                  </a:ext>
                </a:extLst>
              </a:tr>
              <a:tr h="249764">
                <a:tc>
                  <a:txBody>
                    <a:bodyPr/>
                    <a:lstStyle/>
                    <a:p>
                      <a:pPr algn="l" fontAlgn="b"/>
                      <a:r>
                        <a:rPr lang="en-US" sz="1600" b="1" u="none" strike="noStrike" dirty="0">
                          <a:effectLst/>
                        </a:rPr>
                        <a:t>S3</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181295978"/>
                  </a:ext>
                </a:extLst>
              </a:tr>
              <a:tr h="249764">
                <a:tc>
                  <a:txBody>
                    <a:bodyPr/>
                    <a:lstStyle/>
                    <a:p>
                      <a:pPr algn="l" fontAlgn="b"/>
                      <a:r>
                        <a:rPr lang="en-US" sz="1600" b="1" u="none" strike="noStrike" dirty="0">
                          <a:effectLst/>
                        </a:rPr>
                        <a:t>AWS Cloud Front</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509988048"/>
                  </a:ext>
                </a:extLst>
              </a:tr>
              <a:tr h="249764">
                <a:tc>
                  <a:txBody>
                    <a:bodyPr/>
                    <a:lstStyle/>
                    <a:p>
                      <a:pPr algn="l" fontAlgn="b"/>
                      <a:r>
                        <a:rPr lang="en-US" sz="1600" b="1" u="none" strike="noStrike" dirty="0">
                          <a:effectLst/>
                        </a:rPr>
                        <a:t>AWS Cloud Watch</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608607961"/>
                  </a:ext>
                </a:extLst>
              </a:tr>
              <a:tr h="249764">
                <a:tc>
                  <a:txBody>
                    <a:bodyPr/>
                    <a:lstStyle/>
                    <a:p>
                      <a:pPr algn="l" fontAlgn="b"/>
                      <a:r>
                        <a:rPr lang="en-US" sz="1600" b="1" u="none" strike="noStrike" dirty="0">
                          <a:effectLst/>
                        </a:rPr>
                        <a:t>AWS EC2</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151954496"/>
                  </a:ext>
                </a:extLst>
              </a:tr>
              <a:tr h="249764">
                <a:tc>
                  <a:txBody>
                    <a:bodyPr/>
                    <a:lstStyle/>
                    <a:p>
                      <a:pPr algn="l" fontAlgn="b"/>
                      <a:r>
                        <a:rPr lang="en-US" sz="1600" u="none" strike="noStrike" dirty="0">
                          <a:effectLst/>
                        </a:rPr>
                        <a:t>Elastic Load Balancer &amp; </a:t>
                      </a:r>
                      <a:r>
                        <a:rPr lang="en-US" sz="1600" u="none" strike="noStrike" dirty="0" err="1">
                          <a:effectLst/>
                        </a:rPr>
                        <a:t>AutoScaling</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a:effectLst/>
                        </a:rPr>
                        <a:t>Theory/Lab</a:t>
                      </a:r>
                      <a:endParaRPr lang="en-US" sz="16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53736576"/>
                  </a:ext>
                </a:extLst>
              </a:tr>
              <a:tr h="249764">
                <a:tc>
                  <a:txBody>
                    <a:bodyPr/>
                    <a:lstStyle/>
                    <a:p>
                      <a:pPr algn="l" fontAlgn="b"/>
                      <a:r>
                        <a:rPr lang="en-US" sz="1600" u="none" strike="noStrike" dirty="0">
                          <a:effectLst/>
                        </a:rPr>
                        <a:t>AWS Route 53</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11980823"/>
                  </a:ext>
                </a:extLst>
              </a:tr>
              <a:tr h="249764">
                <a:tc>
                  <a:txBody>
                    <a:bodyPr/>
                    <a:lstStyle/>
                    <a:p>
                      <a:pPr algn="l" fontAlgn="b"/>
                      <a:r>
                        <a:rPr lang="en-US" sz="1600" u="none" strike="noStrike" dirty="0">
                          <a:effectLst/>
                        </a:rPr>
                        <a:t>AWS Simple Queue Service</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632187034"/>
                  </a:ext>
                </a:extLst>
              </a:tr>
              <a:tr h="249764">
                <a:tc>
                  <a:txBody>
                    <a:bodyPr/>
                    <a:lstStyle/>
                    <a:p>
                      <a:pPr algn="l" fontAlgn="b"/>
                      <a:r>
                        <a:rPr lang="en-US" sz="1600" b="1" u="none" strike="noStrike" dirty="0">
                          <a:effectLst/>
                        </a:rPr>
                        <a:t>AWS Simple Notification Service</a:t>
                      </a:r>
                      <a:endParaRPr lang="en-US" sz="1600" b="1"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423872448"/>
                  </a:ext>
                </a:extLst>
              </a:tr>
              <a:tr h="309155">
                <a:tc>
                  <a:txBody>
                    <a:bodyPr/>
                    <a:lstStyle/>
                    <a:p>
                      <a:pPr algn="l" fontAlgn="b"/>
                      <a:r>
                        <a:rPr lang="en-US" sz="1600" u="none" strike="noStrike" dirty="0">
                          <a:effectLst/>
                        </a:rPr>
                        <a:t>AWS </a:t>
                      </a:r>
                      <a:r>
                        <a:rPr lang="en-US" sz="1600" u="none" strike="noStrike" dirty="0" smtClean="0">
                          <a:effectLst/>
                        </a:rPr>
                        <a:t>lambda</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35787992"/>
                  </a:ext>
                </a:extLst>
              </a:tr>
              <a:tr h="251305">
                <a:tc>
                  <a:txBody>
                    <a:bodyPr/>
                    <a:lstStyle/>
                    <a:p>
                      <a:pPr algn="l" fontAlgn="b"/>
                      <a:r>
                        <a:rPr lang="en-US" sz="1600" u="none" strike="noStrike" dirty="0">
                          <a:solidFill>
                            <a:schemeClr val="accent6"/>
                          </a:solidFill>
                          <a:effectLst/>
                        </a:rPr>
                        <a:t>AWS RDS</a:t>
                      </a:r>
                      <a:endParaRPr lang="en-US" sz="1600" b="0" i="0" u="none" strike="noStrike" dirty="0">
                        <a:solidFill>
                          <a:schemeClr val="accent6"/>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02182878"/>
                  </a:ext>
                </a:extLst>
              </a:tr>
              <a:tr h="249764">
                <a:tc>
                  <a:txBody>
                    <a:bodyPr/>
                    <a:lstStyle/>
                    <a:p>
                      <a:pPr algn="l" fontAlgn="b"/>
                      <a:r>
                        <a:rPr lang="en-US" sz="1600" dirty="0" smtClean="0"/>
                        <a:t>AWS </a:t>
                      </a:r>
                      <a:r>
                        <a:rPr lang="en-US" sz="1600" dirty="0" err="1" smtClean="0"/>
                        <a:t>CloudFormation</a:t>
                      </a:r>
                      <a:r>
                        <a:rPr lang="en-US" sz="1600" dirty="0" smtClean="0"/>
                        <a:t> </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285644427"/>
                  </a:ext>
                </a:extLst>
              </a:tr>
              <a:tr h="331319">
                <a:tc>
                  <a:txBody>
                    <a:bodyPr/>
                    <a:lstStyle/>
                    <a:p>
                      <a:pPr algn="l" fontAlgn="b"/>
                      <a:r>
                        <a:rPr lang="en-US" sz="1600" u="none" strike="noStrike" dirty="0">
                          <a:effectLst/>
                        </a:rPr>
                        <a:t> </a:t>
                      </a:r>
                      <a:r>
                        <a:rPr lang="en-US" sz="1600" dirty="0" smtClean="0"/>
                        <a:t>AWS </a:t>
                      </a:r>
                      <a:r>
                        <a:rPr lang="en-US" sz="1600" dirty="0" err="1" smtClean="0"/>
                        <a:t>CodeDeploy</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5751025"/>
                  </a:ext>
                </a:extLst>
              </a:tr>
              <a:tr h="249764">
                <a:tc>
                  <a:txBody>
                    <a:bodyPr/>
                    <a:lstStyle/>
                    <a:p>
                      <a:pPr algn="l" fontAlgn="b"/>
                      <a:r>
                        <a:rPr lang="en-US" sz="1600" dirty="0" smtClean="0"/>
                        <a:t>AWS Elastic Beanstalk</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Lab</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247463047"/>
                  </a:ext>
                </a:extLst>
              </a:tr>
              <a:tr h="249764">
                <a:tc>
                  <a:txBody>
                    <a:bodyPr/>
                    <a:lstStyle/>
                    <a:p>
                      <a:pPr algn="l" fontAlgn="b"/>
                      <a:r>
                        <a:rPr lang="en-US" sz="1600" dirty="0" smtClean="0"/>
                        <a:t>Amazon EC2 Container Registry</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u="none" strike="noStrike" dirty="0" smtClean="0">
                          <a:effectLst/>
                        </a:rPr>
                        <a:t>Theory/Lab</a:t>
                      </a:r>
                      <a:endParaRPr lang="en-US" sz="1600" b="0" i="0" u="none" strike="noStrike" dirty="0" smtClean="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204958387"/>
                  </a:ext>
                </a:extLst>
              </a:tr>
              <a:tr h="249764">
                <a:tc>
                  <a:txBody>
                    <a:bodyPr/>
                    <a:lstStyle/>
                    <a:p>
                      <a:pPr algn="l" fontAlgn="b"/>
                      <a:r>
                        <a:rPr lang="en-US" sz="1600" u="none" strike="noStrike" dirty="0">
                          <a:effectLst/>
                        </a:rPr>
                        <a:t>Other Topics and Assignment</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8222591"/>
                  </a:ext>
                </a:extLst>
              </a:tr>
              <a:tr h="249764">
                <a:tc>
                  <a:txBody>
                    <a:bodyPr/>
                    <a:lstStyle/>
                    <a:p>
                      <a:pPr algn="l" fontAlgn="b"/>
                      <a:r>
                        <a:rPr lang="en-US" sz="1600" u="none" strike="noStrike" dirty="0">
                          <a:effectLst/>
                        </a:rPr>
                        <a:t>Blue Green Deployment</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 Assignment</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39806644"/>
                  </a:ext>
                </a:extLst>
              </a:tr>
              <a:tr h="249764">
                <a:tc>
                  <a:txBody>
                    <a:bodyPr/>
                    <a:lstStyle/>
                    <a:p>
                      <a:pPr algn="l" fontAlgn="b"/>
                      <a:r>
                        <a:rPr lang="en-US" sz="1600" u="none" strike="noStrike" dirty="0">
                          <a:effectLst/>
                        </a:rPr>
                        <a:t>Immutable Deployment </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 Assignment</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32486339"/>
                  </a:ext>
                </a:extLst>
              </a:tr>
              <a:tr h="249764">
                <a:tc>
                  <a:txBody>
                    <a:bodyPr/>
                    <a:lstStyle/>
                    <a:p>
                      <a:pPr algn="l" fontAlgn="b"/>
                      <a:r>
                        <a:rPr lang="en-US" sz="1600" u="none" strike="noStrike" dirty="0" smtClean="0">
                          <a:effectLst/>
                        </a:rPr>
                        <a:t>Server less </a:t>
                      </a:r>
                      <a:r>
                        <a:rPr lang="en-US" sz="1600" u="none" strike="noStrike" dirty="0">
                          <a:effectLst/>
                        </a:rPr>
                        <a:t>Computing </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600" u="none" strike="noStrike" dirty="0">
                          <a:effectLst/>
                        </a:rPr>
                        <a:t>Theory/ Assignment</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252347542"/>
                  </a:ext>
                </a:extLst>
              </a:tr>
            </a:tbl>
          </a:graphicData>
        </a:graphic>
      </p:graphicFrame>
    </p:spTree>
    <p:extLst>
      <p:ext uri="{BB962C8B-B14F-4D97-AF65-F5344CB8AC3E}">
        <p14:creationId xmlns:p14="http://schemas.microsoft.com/office/powerpoint/2010/main" val="40915135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idx="16"/>
          </p:nvPr>
        </p:nvPicPr>
        <p:blipFill>
          <a:blip r:embed="rId2">
            <a:extLst>
              <a:ext uri="{28A0092B-C50C-407E-A947-70E740481C1C}">
                <a14:useLocalDpi xmlns:a14="http://schemas.microsoft.com/office/drawing/2010/main" val="0"/>
              </a:ext>
            </a:extLst>
          </a:blip>
          <a:srcRect l="18256" r="18256"/>
          <a:stretch>
            <a:fillRect/>
          </a:stretch>
        </p:blipFill>
        <p:spPr>
          <a:xfrm>
            <a:off x="5661025" y="0"/>
            <a:ext cx="6530975" cy="6858000"/>
          </a:xfrm>
        </p:spPr>
      </p:pic>
      <p:pic>
        <p:nvPicPr>
          <p:cNvPr id="28" name="Picture 27"/>
          <p:cNvPicPr>
            <a:picLocks noChangeAspect="1"/>
          </p:cNvPicPr>
          <p:nvPr/>
        </p:nvPicPr>
        <p:blipFill rotWithShape="1">
          <a:blip r:embed="rId3"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8" name="Group 7"/>
          <p:cNvGrpSpPr/>
          <p:nvPr/>
        </p:nvGrpSpPr>
        <p:grpSpPr>
          <a:xfrm>
            <a:off x="2989783" y="6568832"/>
            <a:ext cx="6212434" cy="276999"/>
            <a:chOff x="2906112" y="6568832"/>
            <a:chExt cx="6212434" cy="276999"/>
          </a:xfrm>
        </p:grpSpPr>
        <p:grpSp>
          <p:nvGrpSpPr>
            <p:cNvPr id="10" name="Group 9"/>
            <p:cNvGrpSpPr/>
            <p:nvPr/>
          </p:nvGrpSpPr>
          <p:grpSpPr>
            <a:xfrm>
              <a:off x="2906112" y="6568832"/>
              <a:ext cx="1736820" cy="276999"/>
              <a:chOff x="2906112" y="6568832"/>
              <a:chExt cx="1736820" cy="276999"/>
            </a:xfrm>
          </p:grpSpPr>
          <p:sp>
            <p:nvSpPr>
              <p:cNvPr id="24" name="Rectangle 23"/>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25"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2" name="Group 11"/>
            <p:cNvGrpSpPr/>
            <p:nvPr/>
          </p:nvGrpSpPr>
          <p:grpSpPr>
            <a:xfrm>
              <a:off x="6069024" y="6568832"/>
              <a:ext cx="1144575" cy="276999"/>
              <a:chOff x="6069024" y="6568832"/>
              <a:chExt cx="1144575" cy="276999"/>
            </a:xfrm>
          </p:grpSpPr>
          <p:sp>
            <p:nvSpPr>
              <p:cNvPr id="22" name="Rectangle 21"/>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23"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3" name="Group 12"/>
            <p:cNvGrpSpPr/>
            <p:nvPr/>
          </p:nvGrpSpPr>
          <p:grpSpPr>
            <a:xfrm>
              <a:off x="4774970" y="6568832"/>
              <a:ext cx="1159219" cy="276999"/>
              <a:chOff x="4745259" y="6568832"/>
              <a:chExt cx="1159219" cy="276999"/>
            </a:xfrm>
          </p:grpSpPr>
          <p:sp>
            <p:nvSpPr>
              <p:cNvPr id="20" name="Rectangle 19"/>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2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4" name="Group 13"/>
            <p:cNvGrpSpPr/>
            <p:nvPr/>
          </p:nvGrpSpPr>
          <p:grpSpPr>
            <a:xfrm>
              <a:off x="7350594" y="6568832"/>
              <a:ext cx="1767952" cy="276999"/>
              <a:chOff x="7439181" y="6568832"/>
              <a:chExt cx="1767952" cy="276999"/>
            </a:xfrm>
          </p:grpSpPr>
          <p:sp>
            <p:nvSpPr>
              <p:cNvPr id="15" name="Rectangle 14"/>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6" name="Group 15"/>
              <p:cNvGrpSpPr/>
              <p:nvPr/>
            </p:nvGrpSpPr>
            <p:grpSpPr>
              <a:xfrm>
                <a:off x="7439181" y="6648704"/>
                <a:ext cx="127791" cy="126717"/>
                <a:chOff x="5370513" y="2312988"/>
                <a:chExt cx="1322388" cy="1311275"/>
              </a:xfrm>
              <a:solidFill>
                <a:schemeClr val="bg1"/>
              </a:solidFill>
            </p:grpSpPr>
            <p:sp>
              <p:nvSpPr>
                <p:cNvPr id="17"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8"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9"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sp>
        <p:nvSpPr>
          <p:cNvPr id="34" name="TextBox 33">
            <a:extLst>
              <a:ext uri="{FF2B5EF4-FFF2-40B4-BE49-F238E27FC236}">
                <a16:creationId xmlns:a16="http://schemas.microsoft.com/office/drawing/2014/main" id="{948A2979-A456-4286-B8FC-8FF4C0C58EFD}"/>
              </a:ext>
            </a:extLst>
          </p:cNvPr>
          <p:cNvSpPr txBox="1"/>
          <p:nvPr/>
        </p:nvSpPr>
        <p:spPr>
          <a:xfrm>
            <a:off x="761617" y="2695502"/>
            <a:ext cx="4620280" cy="1015663"/>
          </a:xfrm>
          <a:prstGeom prst="rect">
            <a:avLst/>
          </a:prstGeom>
          <a:noFill/>
        </p:spPr>
        <p:txBody>
          <a:bodyPr wrap="square" rtlCol="0" anchor="ctr">
            <a:spAutoFit/>
          </a:bodyPr>
          <a:lstStyle/>
          <a:p>
            <a:r>
              <a:rPr lang="en-US" sz="6000" dirty="0" smtClean="0">
                <a:solidFill>
                  <a:srgbClr val="20428F"/>
                </a:solidFill>
              </a:rPr>
              <a:t>AWS Services</a:t>
            </a:r>
            <a:endParaRPr lang="en-US" sz="6000" dirty="0">
              <a:solidFill>
                <a:srgbClr val="20428F"/>
              </a:solidFill>
            </a:endParaRPr>
          </a:p>
        </p:txBody>
      </p:sp>
      <p:sp>
        <p:nvSpPr>
          <p:cNvPr id="27" name="Rectangle 26"/>
          <p:cNvSpPr/>
          <p:nvPr/>
        </p:nvSpPr>
        <p:spPr>
          <a:xfrm rot="16200000">
            <a:off x="10295793" y="1621250"/>
            <a:ext cx="3387273" cy="276999"/>
          </a:xfrm>
          <a:prstGeom prst="rect">
            <a:avLst/>
          </a:prstGeom>
        </p:spPr>
        <p:txBody>
          <a:bodyPr wrap="none">
            <a:spAutoFit/>
          </a:bodyPr>
          <a:lstStyle/>
          <a:p>
            <a:pPr algn="r"/>
            <a:r>
              <a:rPr lang="en-US" altLang="ko-KR" sz="1200" dirty="0">
                <a:solidFill>
                  <a:schemeClr val="bg1"/>
                </a:solidFill>
                <a:latin typeface="Calibri" panose="020F0502020204030204" pitchFamily="34" charset="0"/>
                <a:cs typeface="Calibri" panose="020F0502020204030204" pitchFamily="34" charset="0"/>
              </a:rPr>
              <a:t>CO-CREATION | COLLABORATION | COORDINATION</a:t>
            </a:r>
            <a:endParaRPr lang="ko-KR" altLang="en-US" sz="1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701447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2"/>
          <a:srcRect t="5778" r="22907"/>
          <a:stretch/>
        </p:blipFill>
        <p:spPr>
          <a:xfrm>
            <a:off x="2547257" y="182881"/>
            <a:ext cx="6648994" cy="6505302"/>
          </a:xfrm>
          <a:prstGeom prst="rect">
            <a:avLst/>
          </a:prstGeom>
          <a:ln/>
        </p:spPr>
        <p:style>
          <a:lnRef idx="1">
            <a:schemeClr val="accent5"/>
          </a:lnRef>
          <a:fillRef idx="3">
            <a:schemeClr val="accent5"/>
          </a:fillRef>
          <a:effectRef idx="2">
            <a:schemeClr val="accent5"/>
          </a:effectRef>
          <a:fontRef idx="minor">
            <a:schemeClr val="lt1"/>
          </a:fontRef>
        </p:style>
      </p:pic>
    </p:spTree>
    <p:extLst>
      <p:ext uri="{BB962C8B-B14F-4D97-AF65-F5344CB8AC3E}">
        <p14:creationId xmlns:p14="http://schemas.microsoft.com/office/powerpoint/2010/main" val="24056269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pic>
        <p:nvPicPr>
          <p:cNvPr id="23" name="Picture 245"/>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342735" y="360433"/>
            <a:ext cx="1568109"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948A2979-A456-4286-B8FC-8FF4C0C58EFD}"/>
              </a:ext>
            </a:extLst>
          </p:cNvPr>
          <p:cNvSpPr txBox="1"/>
          <p:nvPr/>
        </p:nvSpPr>
        <p:spPr>
          <a:xfrm>
            <a:off x="2093767" y="448640"/>
            <a:ext cx="6672648" cy="646331"/>
          </a:xfrm>
          <a:prstGeom prst="rect">
            <a:avLst/>
          </a:prstGeom>
          <a:noFill/>
        </p:spPr>
        <p:txBody>
          <a:bodyPr wrap="square" rtlCol="0" anchor="ctr">
            <a:spAutoFit/>
          </a:bodyPr>
          <a:lstStyle/>
          <a:p>
            <a:r>
              <a:rPr lang="en-US" sz="3600" dirty="0" smtClean="0">
                <a:solidFill>
                  <a:srgbClr val="20428F"/>
                </a:solidFill>
              </a:rPr>
              <a:t>Introduction to Amazon EC2</a:t>
            </a:r>
            <a:endParaRPr lang="en-US" sz="3600" dirty="0">
              <a:solidFill>
                <a:srgbClr val="20428F"/>
              </a:solidFill>
            </a:endParaRPr>
          </a:p>
        </p:txBody>
      </p:sp>
      <p:sp>
        <p:nvSpPr>
          <p:cNvPr id="29" name="Freeform: Shape 5">
            <a:extLst>
              <a:ext uri="{FF2B5EF4-FFF2-40B4-BE49-F238E27FC236}">
                <a16:creationId xmlns:a16="http://schemas.microsoft.com/office/drawing/2014/main" id="{6E2E9094-67D8-4A7C-B3AF-095F1FFF635E}"/>
              </a:ext>
            </a:extLst>
          </p:cNvPr>
          <p:cNvSpPr/>
          <p:nvPr/>
        </p:nvSpPr>
        <p:spPr>
          <a:xfrm flipH="1">
            <a:off x="1727921" y="6611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 name="Rectangle 2"/>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31" name="Rectangle 30"/>
          <p:cNvSpPr/>
          <p:nvPr/>
        </p:nvSpPr>
        <p:spPr>
          <a:xfrm>
            <a:off x="373793" y="1709223"/>
            <a:ext cx="10018230" cy="1569660"/>
          </a:xfrm>
          <a:prstGeom prst="rect">
            <a:avLst/>
          </a:prstGeom>
        </p:spPr>
        <p:txBody>
          <a:bodyPr wrap="square">
            <a:spAutoFit/>
          </a:bodyPr>
          <a:lstStyle/>
          <a:p>
            <a:pPr lvl="1">
              <a:lnSpc>
                <a:spcPct val="200000"/>
              </a:lnSpc>
            </a:pPr>
            <a:r>
              <a:rPr lang="en-US" sz="2400" dirty="0" smtClean="0">
                <a:solidFill>
                  <a:srgbClr val="20428F"/>
                </a:solidFill>
              </a:rPr>
              <a:t>Amazon EC2:</a:t>
            </a:r>
          </a:p>
          <a:p>
            <a:pPr lvl="1">
              <a:lnSpc>
                <a:spcPct val="150000"/>
              </a:lnSpc>
            </a:pPr>
            <a:r>
              <a:rPr lang="en-US" sz="1600" dirty="0">
                <a:solidFill>
                  <a:schemeClr val="tx1">
                    <a:lumMod val="65000"/>
                    <a:lumOff val="35000"/>
                  </a:schemeClr>
                </a:solidFill>
              </a:rPr>
              <a:t>“Amazon EC2 stand for (Elastic Computing Cloud). AWS EC2 is a backbone of AWS. AWS EC2 offers scalable computing capacity that allows business subscribers to run application and programs in the Cloud environment.”</a:t>
            </a:r>
          </a:p>
        </p:txBody>
      </p:sp>
      <p:sp>
        <p:nvSpPr>
          <p:cNvPr id="28" name="Rectangle 27"/>
          <p:cNvSpPr/>
          <p:nvPr/>
        </p:nvSpPr>
        <p:spPr>
          <a:xfrm>
            <a:off x="373793" y="3278883"/>
            <a:ext cx="3300484" cy="2308324"/>
          </a:xfrm>
          <a:prstGeom prst="rect">
            <a:avLst/>
          </a:prstGeom>
        </p:spPr>
        <p:txBody>
          <a:bodyPr wrap="square">
            <a:spAutoFit/>
          </a:bodyPr>
          <a:lstStyle/>
          <a:p>
            <a:pPr marL="742950" lvl="1" indent="-285750">
              <a:lnSpc>
                <a:spcPct val="200000"/>
              </a:lnSpc>
              <a:buFont typeface="Arial" panose="020B0604020202020204" pitchFamily="34" charset="0"/>
              <a:buChar char="•"/>
            </a:pPr>
            <a:endParaRPr lang="en-US" sz="1400" dirty="0" smtClean="0">
              <a:solidFill>
                <a:schemeClr val="tx1">
                  <a:lumMod val="65000"/>
                  <a:lumOff val="35000"/>
                </a:schemeClr>
              </a:solidFill>
              <a:cs typeface="Arial" pitchFamily="34" charset="0"/>
            </a:endParaRPr>
          </a:p>
          <a:p>
            <a:pPr marL="742950" lvl="1" indent="-285750">
              <a:lnSpc>
                <a:spcPct val="200000"/>
              </a:lnSpc>
              <a:buFont typeface="Arial" panose="020B0604020202020204" pitchFamily="34" charset="0"/>
              <a:buChar char="•"/>
            </a:pPr>
            <a:r>
              <a:rPr lang="en-US" sz="1400" dirty="0" smtClean="0">
                <a:solidFill>
                  <a:schemeClr val="tx1">
                    <a:lumMod val="65000"/>
                    <a:lumOff val="35000"/>
                  </a:schemeClr>
                </a:solidFill>
                <a:cs typeface="Arial" pitchFamily="34" charset="0"/>
              </a:rPr>
              <a:t>Elastic </a:t>
            </a:r>
            <a:r>
              <a:rPr lang="en-US" sz="1400" dirty="0">
                <a:solidFill>
                  <a:schemeClr val="tx1">
                    <a:lumMod val="65000"/>
                    <a:lumOff val="35000"/>
                  </a:schemeClr>
                </a:solidFill>
                <a:cs typeface="Arial" pitchFamily="34" charset="0"/>
              </a:rPr>
              <a:t>Web-Scale Computing</a:t>
            </a:r>
          </a:p>
          <a:p>
            <a:pPr marL="742950" lvl="1" indent="-285750">
              <a:lnSpc>
                <a:spcPct val="200000"/>
              </a:lnSpc>
              <a:buFont typeface="Arial" panose="020B0604020202020204" pitchFamily="34" charset="0"/>
              <a:buChar char="•"/>
            </a:pPr>
            <a:r>
              <a:rPr lang="en-US" sz="1400" dirty="0">
                <a:solidFill>
                  <a:schemeClr val="tx1">
                    <a:lumMod val="65000"/>
                    <a:lumOff val="35000"/>
                  </a:schemeClr>
                </a:solidFill>
                <a:cs typeface="Arial" pitchFamily="34" charset="0"/>
              </a:rPr>
              <a:t>Completely Control</a:t>
            </a:r>
          </a:p>
          <a:p>
            <a:pPr marL="742950" lvl="1" indent="-285750">
              <a:lnSpc>
                <a:spcPct val="200000"/>
              </a:lnSpc>
              <a:buFont typeface="Arial" panose="020B0604020202020204" pitchFamily="34" charset="0"/>
              <a:buChar char="•"/>
            </a:pPr>
            <a:r>
              <a:rPr lang="en-US" sz="1400" dirty="0">
                <a:solidFill>
                  <a:schemeClr val="tx1">
                    <a:lumMod val="65000"/>
                    <a:lumOff val="35000"/>
                  </a:schemeClr>
                </a:solidFill>
                <a:cs typeface="Arial" pitchFamily="34" charset="0"/>
              </a:rPr>
              <a:t>Flexible Cloud Hosting Services</a:t>
            </a:r>
          </a:p>
          <a:p>
            <a:pPr lvl="1">
              <a:lnSpc>
                <a:spcPct val="200000"/>
              </a:lnSpc>
            </a:pPr>
            <a:endParaRPr lang="en-US" sz="1600" dirty="0">
              <a:solidFill>
                <a:schemeClr val="tx1">
                  <a:lumMod val="65000"/>
                  <a:lumOff val="35000"/>
                </a:schemeClr>
              </a:solidFill>
            </a:endParaRPr>
          </a:p>
        </p:txBody>
      </p:sp>
      <p:sp>
        <p:nvSpPr>
          <p:cNvPr id="30" name="Rectangle 29"/>
          <p:cNvSpPr/>
          <p:nvPr/>
        </p:nvSpPr>
        <p:spPr>
          <a:xfrm>
            <a:off x="4968403" y="3317015"/>
            <a:ext cx="3300484" cy="2308324"/>
          </a:xfrm>
          <a:prstGeom prst="rect">
            <a:avLst/>
          </a:prstGeom>
        </p:spPr>
        <p:txBody>
          <a:bodyPr wrap="square">
            <a:spAutoFit/>
          </a:bodyPr>
          <a:lstStyle/>
          <a:p>
            <a:pPr marL="742950" lvl="1" indent="-285750">
              <a:lnSpc>
                <a:spcPct val="200000"/>
              </a:lnSpc>
              <a:buFont typeface="Arial" panose="020B0604020202020204" pitchFamily="34" charset="0"/>
              <a:buChar char="•"/>
            </a:pPr>
            <a:endParaRPr lang="en-US" sz="1400" dirty="0" smtClean="0">
              <a:solidFill>
                <a:schemeClr val="tx1">
                  <a:lumMod val="65000"/>
                  <a:lumOff val="35000"/>
                </a:schemeClr>
              </a:solidFill>
              <a:cs typeface="Arial" pitchFamily="34" charset="0"/>
            </a:endParaRPr>
          </a:p>
          <a:p>
            <a:pPr marL="742950" lvl="1" indent="-285750">
              <a:lnSpc>
                <a:spcPct val="200000"/>
              </a:lnSpc>
              <a:buFont typeface="Arial" panose="020B0604020202020204" pitchFamily="34" charset="0"/>
              <a:buChar char="•"/>
            </a:pPr>
            <a:r>
              <a:rPr lang="en-US" sz="1400" dirty="0" smtClean="0">
                <a:solidFill>
                  <a:schemeClr val="tx1">
                    <a:lumMod val="65000"/>
                    <a:lumOff val="35000"/>
                  </a:schemeClr>
                </a:solidFill>
                <a:cs typeface="Arial" pitchFamily="34" charset="0"/>
              </a:rPr>
              <a:t>Integrated </a:t>
            </a:r>
            <a:endParaRPr lang="en-US" sz="1400" dirty="0">
              <a:solidFill>
                <a:schemeClr val="tx1">
                  <a:lumMod val="65000"/>
                  <a:lumOff val="35000"/>
                </a:schemeClr>
              </a:solidFill>
              <a:cs typeface="Arial" pitchFamily="34" charset="0"/>
            </a:endParaRPr>
          </a:p>
          <a:p>
            <a:pPr marL="742950" lvl="1" indent="-285750">
              <a:lnSpc>
                <a:spcPct val="200000"/>
              </a:lnSpc>
              <a:buFont typeface="Arial" panose="020B0604020202020204" pitchFamily="34" charset="0"/>
              <a:buChar char="•"/>
            </a:pPr>
            <a:r>
              <a:rPr lang="en-US" sz="1400" dirty="0">
                <a:solidFill>
                  <a:schemeClr val="tx1">
                    <a:lumMod val="65000"/>
                    <a:lumOff val="35000"/>
                  </a:schemeClr>
                </a:solidFill>
                <a:cs typeface="Arial" pitchFamily="34" charset="0"/>
              </a:rPr>
              <a:t>Reliable </a:t>
            </a:r>
          </a:p>
          <a:p>
            <a:pPr marL="742950" lvl="1" indent="-285750">
              <a:lnSpc>
                <a:spcPct val="200000"/>
              </a:lnSpc>
              <a:buFont typeface="Arial" panose="020B0604020202020204" pitchFamily="34" charset="0"/>
              <a:buChar char="•"/>
            </a:pPr>
            <a:r>
              <a:rPr lang="en-US" sz="1400" dirty="0">
                <a:solidFill>
                  <a:schemeClr val="tx1">
                    <a:lumMod val="65000"/>
                    <a:lumOff val="35000"/>
                  </a:schemeClr>
                </a:solidFill>
                <a:cs typeface="Arial" pitchFamily="34" charset="0"/>
              </a:rPr>
              <a:t>Secure </a:t>
            </a:r>
          </a:p>
          <a:p>
            <a:pPr lvl="1">
              <a:lnSpc>
                <a:spcPct val="200000"/>
              </a:lnSpc>
            </a:pPr>
            <a:endParaRPr lang="en-US" sz="1600" dirty="0">
              <a:solidFill>
                <a:schemeClr val="tx1">
                  <a:lumMod val="65000"/>
                  <a:lumOff val="35000"/>
                </a:schemeClr>
              </a:solidFill>
            </a:endParaRPr>
          </a:p>
        </p:txBody>
      </p:sp>
    </p:spTree>
    <p:extLst>
      <p:ext uri="{BB962C8B-B14F-4D97-AF65-F5344CB8AC3E}">
        <p14:creationId xmlns:p14="http://schemas.microsoft.com/office/powerpoint/2010/main" val="16460944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sp>
        <p:nvSpPr>
          <p:cNvPr id="57"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0" name="Rectangle 59"/>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58" name="TextBox 57">
            <a:extLst>
              <a:ext uri="{FF2B5EF4-FFF2-40B4-BE49-F238E27FC236}">
                <a16:creationId xmlns:a16="http://schemas.microsoft.com/office/drawing/2014/main" id="{948A2979-A456-4286-B8FC-8FF4C0C58EFD}"/>
              </a:ext>
            </a:extLst>
          </p:cNvPr>
          <p:cNvSpPr txBox="1"/>
          <p:nvPr/>
        </p:nvSpPr>
        <p:spPr>
          <a:xfrm>
            <a:off x="2190741" y="499123"/>
            <a:ext cx="8201282" cy="646331"/>
          </a:xfrm>
          <a:prstGeom prst="rect">
            <a:avLst/>
          </a:prstGeom>
          <a:noFill/>
        </p:spPr>
        <p:txBody>
          <a:bodyPr wrap="square" rtlCol="0" anchor="ctr">
            <a:spAutoFit/>
          </a:bodyPr>
          <a:lstStyle/>
          <a:p>
            <a:r>
              <a:rPr lang="en-US" sz="3600" dirty="0">
                <a:solidFill>
                  <a:schemeClr val="tx1">
                    <a:lumMod val="65000"/>
                    <a:lumOff val="35000"/>
                  </a:schemeClr>
                </a:solidFill>
              </a:rPr>
              <a:t>Amazon Machine Image (AMI)</a:t>
            </a:r>
            <a:endParaRPr lang="en-US" sz="3600" dirty="0">
              <a:solidFill>
                <a:srgbClr val="20428F"/>
              </a:solidFill>
            </a:endParaRPr>
          </a:p>
        </p:txBody>
      </p:sp>
      <p:sp>
        <p:nvSpPr>
          <p:cNvPr id="2" name="Rectangle 1"/>
          <p:cNvSpPr/>
          <p:nvPr/>
        </p:nvSpPr>
        <p:spPr>
          <a:xfrm>
            <a:off x="373793" y="1709223"/>
            <a:ext cx="10018230" cy="2308324"/>
          </a:xfrm>
          <a:prstGeom prst="rect">
            <a:avLst/>
          </a:prstGeom>
        </p:spPr>
        <p:txBody>
          <a:bodyPr wrap="square">
            <a:spAutoFit/>
          </a:bodyPr>
          <a:lstStyle/>
          <a:p>
            <a:pPr lvl="1">
              <a:lnSpc>
                <a:spcPct val="200000"/>
              </a:lnSpc>
            </a:pPr>
            <a:r>
              <a:rPr lang="en-US" sz="2400" dirty="0" smtClean="0">
                <a:solidFill>
                  <a:srgbClr val="20428F"/>
                </a:solidFill>
              </a:rPr>
              <a:t>AMIs:</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n </a:t>
            </a:r>
            <a:r>
              <a:rPr lang="en-US" sz="1600" i="1" dirty="0">
                <a:solidFill>
                  <a:schemeClr val="tx1">
                    <a:lumMod val="65000"/>
                    <a:lumOff val="35000"/>
                  </a:schemeClr>
                </a:solidFill>
              </a:rPr>
              <a:t>Amazon Machine Image (AMI)</a:t>
            </a:r>
            <a:r>
              <a:rPr lang="en-US" sz="1600" dirty="0">
                <a:solidFill>
                  <a:schemeClr val="tx1">
                    <a:lumMod val="65000"/>
                    <a:lumOff val="35000"/>
                  </a:schemeClr>
                </a:solidFill>
              </a:rPr>
              <a:t> is a template that contains a software configuration (for example, an operating system, an application server, and applications)</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MI is used to launch an instance, which is a copy of the AMI running as a virtual server in the cloud.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Multiple </a:t>
            </a:r>
            <a:r>
              <a:rPr lang="en-US" sz="1600" dirty="0">
                <a:solidFill>
                  <a:schemeClr val="tx1">
                    <a:lumMod val="65000"/>
                    <a:lumOff val="35000"/>
                  </a:schemeClr>
                </a:solidFill>
              </a:rPr>
              <a:t>instances of an AMI can be launched, as shown in the following figure.</a:t>
            </a:r>
          </a:p>
        </p:txBody>
      </p:sp>
      <p:pic>
        <p:nvPicPr>
          <p:cNvPr id="7170" name="Picture 2" descr="&#10;     Launch multiple instances from an AMI&#10;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5531" y="4061865"/>
            <a:ext cx="2299063" cy="2338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483421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pic>
        <p:nvPicPr>
          <p:cNvPr id="23" name="Picture 245"/>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373793" y="294084"/>
            <a:ext cx="1518609" cy="80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948A2979-A456-4286-B8FC-8FF4C0C58EFD}"/>
              </a:ext>
            </a:extLst>
          </p:cNvPr>
          <p:cNvSpPr txBox="1"/>
          <p:nvPr/>
        </p:nvSpPr>
        <p:spPr>
          <a:xfrm>
            <a:off x="2093767" y="448640"/>
            <a:ext cx="7220050" cy="646331"/>
          </a:xfrm>
          <a:prstGeom prst="rect">
            <a:avLst/>
          </a:prstGeom>
          <a:noFill/>
        </p:spPr>
        <p:txBody>
          <a:bodyPr wrap="square" rtlCol="0" anchor="ctr">
            <a:spAutoFit/>
          </a:bodyPr>
          <a:lstStyle/>
          <a:p>
            <a:r>
              <a:rPr lang="en-US" sz="3600" dirty="0" smtClean="0">
                <a:solidFill>
                  <a:srgbClr val="20428F"/>
                </a:solidFill>
              </a:rPr>
              <a:t>Introduction to Amazon ElastiCache</a:t>
            </a:r>
            <a:endParaRPr lang="en-US" sz="3600" dirty="0">
              <a:solidFill>
                <a:srgbClr val="20428F"/>
              </a:solidFill>
            </a:endParaRPr>
          </a:p>
        </p:txBody>
      </p:sp>
      <p:sp>
        <p:nvSpPr>
          <p:cNvPr id="29" name="Freeform: Shape 5">
            <a:extLst>
              <a:ext uri="{FF2B5EF4-FFF2-40B4-BE49-F238E27FC236}">
                <a16:creationId xmlns:a16="http://schemas.microsoft.com/office/drawing/2014/main" id="{6E2E9094-67D8-4A7C-B3AF-095F1FFF635E}"/>
              </a:ext>
            </a:extLst>
          </p:cNvPr>
          <p:cNvSpPr/>
          <p:nvPr/>
        </p:nvSpPr>
        <p:spPr>
          <a:xfrm flipH="1">
            <a:off x="1727921" y="6611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 name="Rectangle 2"/>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31" name="Rectangle 30"/>
          <p:cNvSpPr/>
          <p:nvPr/>
        </p:nvSpPr>
        <p:spPr>
          <a:xfrm>
            <a:off x="373793" y="1709223"/>
            <a:ext cx="10018230" cy="1938992"/>
          </a:xfrm>
          <a:prstGeom prst="rect">
            <a:avLst/>
          </a:prstGeom>
        </p:spPr>
        <p:txBody>
          <a:bodyPr wrap="square">
            <a:spAutoFit/>
          </a:bodyPr>
          <a:lstStyle/>
          <a:p>
            <a:pPr lvl="1">
              <a:lnSpc>
                <a:spcPct val="200000"/>
              </a:lnSpc>
            </a:pPr>
            <a:r>
              <a:rPr lang="en-US" sz="2400" dirty="0" smtClean="0">
                <a:solidFill>
                  <a:srgbClr val="20428F"/>
                </a:solidFill>
              </a:rPr>
              <a:t>ElastiCache:</a:t>
            </a:r>
          </a:p>
          <a:p>
            <a:pPr lvl="1">
              <a:lnSpc>
                <a:spcPct val="150000"/>
              </a:lnSpc>
            </a:pPr>
            <a:r>
              <a:rPr lang="en-US" sz="1600" dirty="0">
                <a:solidFill>
                  <a:schemeClr val="tx1">
                    <a:lumMod val="65000"/>
                    <a:lumOff val="35000"/>
                  </a:schemeClr>
                </a:solidFill>
              </a:rPr>
              <a:t>Amazon </a:t>
            </a:r>
            <a:r>
              <a:rPr lang="en-US" sz="1600" dirty="0" smtClean="0">
                <a:solidFill>
                  <a:schemeClr val="tx1">
                    <a:lumMod val="65000"/>
                    <a:lumOff val="35000"/>
                  </a:schemeClr>
                </a:solidFill>
              </a:rPr>
              <a:t>ElastiCache</a:t>
            </a:r>
            <a:r>
              <a:rPr lang="en-US" sz="1600" dirty="0">
                <a:solidFill>
                  <a:schemeClr val="tx1">
                    <a:lumMod val="65000"/>
                    <a:lumOff val="35000"/>
                  </a:schemeClr>
                </a:solidFill>
              </a:rPr>
              <a:t> makes it easy to deploy and manage a highly available and scalable in-memory data store in the cloud. Among the open source in-memory engines available to you for use with ElastiCache is </a:t>
            </a:r>
            <a:r>
              <a:rPr lang="en-US" sz="1600" dirty="0" err="1">
                <a:solidFill>
                  <a:schemeClr val="tx1">
                    <a:lumMod val="65000"/>
                    <a:lumOff val="35000"/>
                  </a:schemeClr>
                </a:solidFill>
              </a:rPr>
              <a:t>Redis</a:t>
            </a:r>
            <a:r>
              <a:rPr lang="en-US" sz="1600" dirty="0">
                <a:solidFill>
                  <a:schemeClr val="tx1">
                    <a:lumMod val="65000"/>
                    <a:lumOff val="35000"/>
                  </a:schemeClr>
                </a:solidFill>
              </a:rPr>
              <a:t>, which added powerful geospatial </a:t>
            </a:r>
            <a:r>
              <a:rPr lang="en-US" sz="1600" dirty="0" smtClean="0">
                <a:solidFill>
                  <a:schemeClr val="tx1">
                    <a:lumMod val="65000"/>
                    <a:lumOff val="35000"/>
                  </a:schemeClr>
                </a:solidFill>
              </a:rPr>
              <a:t>capabilities.</a:t>
            </a:r>
            <a:endParaRPr lang="en-US" sz="1600" dirty="0">
              <a:solidFill>
                <a:schemeClr val="tx1">
                  <a:lumMod val="65000"/>
                  <a:lumOff val="35000"/>
                </a:schemeClr>
              </a:solidFill>
            </a:endParaRPr>
          </a:p>
        </p:txBody>
      </p:sp>
    </p:spTree>
    <p:extLst>
      <p:ext uri="{BB962C8B-B14F-4D97-AF65-F5344CB8AC3E}">
        <p14:creationId xmlns:p14="http://schemas.microsoft.com/office/powerpoint/2010/main" val="7042650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sp>
        <p:nvSpPr>
          <p:cNvPr id="57"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0" name="Rectangle 59"/>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58" name="TextBox 57">
            <a:extLst>
              <a:ext uri="{FF2B5EF4-FFF2-40B4-BE49-F238E27FC236}">
                <a16:creationId xmlns:a16="http://schemas.microsoft.com/office/drawing/2014/main" id="{948A2979-A456-4286-B8FC-8FF4C0C58EFD}"/>
              </a:ext>
            </a:extLst>
          </p:cNvPr>
          <p:cNvSpPr txBox="1"/>
          <p:nvPr/>
        </p:nvSpPr>
        <p:spPr>
          <a:xfrm>
            <a:off x="2190741" y="499123"/>
            <a:ext cx="8201282" cy="646331"/>
          </a:xfrm>
          <a:prstGeom prst="rect">
            <a:avLst/>
          </a:prstGeom>
          <a:noFill/>
        </p:spPr>
        <p:txBody>
          <a:bodyPr wrap="square" rtlCol="0" anchor="ctr">
            <a:spAutoFit/>
          </a:bodyPr>
          <a:lstStyle/>
          <a:p>
            <a:r>
              <a:rPr lang="en-US" sz="3600" dirty="0">
                <a:solidFill>
                  <a:srgbClr val="20428F"/>
                </a:solidFill>
              </a:rPr>
              <a:t>Amazon RDS</a:t>
            </a:r>
          </a:p>
        </p:txBody>
      </p:sp>
      <p:sp>
        <p:nvSpPr>
          <p:cNvPr id="2" name="Rectangle 1"/>
          <p:cNvSpPr/>
          <p:nvPr/>
        </p:nvSpPr>
        <p:spPr>
          <a:xfrm>
            <a:off x="373793" y="1709222"/>
            <a:ext cx="9606230" cy="3785652"/>
          </a:xfrm>
          <a:prstGeom prst="rect">
            <a:avLst/>
          </a:prstGeom>
        </p:spPr>
        <p:txBody>
          <a:bodyPr wrap="square">
            <a:spAutoFit/>
          </a:bodyPr>
          <a:lstStyle/>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A </a:t>
            </a:r>
            <a:r>
              <a:rPr lang="en-US" sz="1600" dirty="0">
                <a:solidFill>
                  <a:schemeClr val="tx1">
                    <a:lumMod val="65000"/>
                    <a:lumOff val="35000"/>
                  </a:schemeClr>
                </a:solidFill>
              </a:rPr>
              <a:t>web service that makes it easier to set up, operate, and scale a relational database in the AWS Cloud</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Provides </a:t>
            </a:r>
            <a:r>
              <a:rPr lang="en-US" sz="1600" dirty="0">
                <a:solidFill>
                  <a:schemeClr val="tx1">
                    <a:lumMod val="65000"/>
                    <a:lumOff val="35000"/>
                  </a:schemeClr>
                </a:solidFill>
              </a:rPr>
              <a:t>cost-efficient, resizable capacity for an industry-standard relational database and manages common database administration tasks.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RDS manages backups, software patching, automatic failure detection, and recovery</a:t>
            </a:r>
            <a:r>
              <a:rPr lang="en-US" sz="1600" dirty="0" smtClean="0">
                <a:solidFill>
                  <a:schemeClr val="tx1">
                    <a:lumMod val="65000"/>
                    <a:lumOff val="35000"/>
                  </a:schemeClr>
                </a:solidFill>
              </a:rPr>
              <a:t>.</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To deliver a managed service experience, Amazon RDS doesn't provide shell access to DB instances.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It </a:t>
            </a:r>
            <a:r>
              <a:rPr lang="en-US" sz="1600" dirty="0">
                <a:solidFill>
                  <a:schemeClr val="tx1">
                    <a:lumMod val="65000"/>
                    <a:lumOff val="35000"/>
                  </a:schemeClr>
                </a:solidFill>
              </a:rPr>
              <a:t>also restricts access to certain system procedures and tables that require advanced </a:t>
            </a:r>
            <a:r>
              <a:rPr lang="en-US" sz="1600" dirty="0" smtClean="0">
                <a:solidFill>
                  <a:schemeClr val="tx1">
                    <a:lumMod val="65000"/>
                    <a:lumOff val="35000"/>
                  </a:schemeClr>
                </a:solidFill>
              </a:rPr>
              <a:t>privileges.</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You can have automated backups performed when you need them, or manually create your own backup snapshot. </a:t>
            </a:r>
            <a:endParaRPr lang="en-US" sz="1600" dirty="0" smtClean="0">
              <a:solidFill>
                <a:schemeClr val="tx1">
                  <a:lumMod val="65000"/>
                  <a:lumOff val="35000"/>
                </a:schemeClr>
              </a:solidFill>
            </a:endParaRPr>
          </a:p>
          <a:p>
            <a:pPr lvl="1">
              <a:lnSpc>
                <a:spcPct val="150000"/>
              </a:lnSpc>
            </a:pPr>
            <a:endParaRPr lang="en-US" sz="1600" dirty="0">
              <a:solidFill>
                <a:schemeClr val="tx1">
                  <a:lumMod val="50000"/>
                  <a:lumOff val="50000"/>
                </a:schemeClr>
              </a:solidFill>
            </a:endParaRPr>
          </a:p>
          <a:p>
            <a:pPr lvl="1">
              <a:lnSpc>
                <a:spcPct val="150000"/>
              </a:lnSpc>
            </a:pPr>
            <a:endParaRPr lang="en-US" sz="1600" dirty="0" smtClean="0">
              <a:solidFill>
                <a:schemeClr val="tx1">
                  <a:lumMod val="50000"/>
                  <a:lumOff val="50000"/>
                </a:schemeClr>
              </a:solidFill>
            </a:endParaRPr>
          </a:p>
        </p:txBody>
      </p:sp>
      <p:pic>
        <p:nvPicPr>
          <p:cNvPr id="3" name="Picture 2"/>
          <p:cNvPicPr>
            <a:picLocks noChangeAspect="1"/>
          </p:cNvPicPr>
          <p:nvPr/>
        </p:nvPicPr>
        <p:blipFill rotWithShape="1">
          <a:blip r:embed="rId2"/>
          <a:srcRect l="1258" t="15177" r="1071" b="24044"/>
          <a:stretch/>
        </p:blipFill>
        <p:spPr>
          <a:xfrm>
            <a:off x="473180" y="4851694"/>
            <a:ext cx="11377750" cy="1018903"/>
          </a:xfrm>
          <a:prstGeom prst="rect">
            <a:avLst/>
          </a:prstGeom>
        </p:spPr>
      </p:pic>
    </p:spTree>
    <p:extLst>
      <p:ext uri="{BB962C8B-B14F-4D97-AF65-F5344CB8AC3E}">
        <p14:creationId xmlns:p14="http://schemas.microsoft.com/office/powerpoint/2010/main" val="34705739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565556"/>
            <a:ext cx="12192000" cy="292443"/>
          </a:xfrm>
          <a:prstGeom prst="rect">
            <a:avLst/>
          </a:prstGeom>
          <a:solidFill>
            <a:srgbClr val="2042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0" name="Rectangle 59"/>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58" name="TextBox 57">
            <a:extLst>
              <a:ext uri="{FF2B5EF4-FFF2-40B4-BE49-F238E27FC236}">
                <a16:creationId xmlns:a16="http://schemas.microsoft.com/office/drawing/2014/main" id="{948A2979-A456-4286-B8FC-8FF4C0C58EFD}"/>
              </a:ext>
            </a:extLst>
          </p:cNvPr>
          <p:cNvSpPr txBox="1"/>
          <p:nvPr/>
        </p:nvSpPr>
        <p:spPr>
          <a:xfrm>
            <a:off x="2190741" y="499123"/>
            <a:ext cx="8201282" cy="646331"/>
          </a:xfrm>
          <a:prstGeom prst="rect">
            <a:avLst/>
          </a:prstGeom>
          <a:noFill/>
        </p:spPr>
        <p:txBody>
          <a:bodyPr wrap="square" rtlCol="0" anchor="ctr">
            <a:spAutoFit/>
          </a:bodyPr>
          <a:lstStyle/>
          <a:p>
            <a:r>
              <a:rPr lang="en-US" sz="3600" dirty="0">
                <a:solidFill>
                  <a:srgbClr val="20428F"/>
                </a:solidFill>
              </a:rPr>
              <a:t>Amazon </a:t>
            </a:r>
            <a:r>
              <a:rPr lang="en-US" sz="3600" dirty="0" smtClean="0">
                <a:solidFill>
                  <a:srgbClr val="20428F"/>
                </a:solidFill>
              </a:rPr>
              <a:t>S3</a:t>
            </a:r>
            <a:endParaRPr lang="en-US" sz="3600" dirty="0">
              <a:solidFill>
                <a:srgbClr val="20428F"/>
              </a:solidFill>
            </a:endParaRPr>
          </a:p>
        </p:txBody>
      </p:sp>
      <p:sp>
        <p:nvSpPr>
          <p:cNvPr id="2" name="Rectangle 1"/>
          <p:cNvSpPr/>
          <p:nvPr/>
        </p:nvSpPr>
        <p:spPr>
          <a:xfrm>
            <a:off x="544697" y="1881309"/>
            <a:ext cx="10572881" cy="4524315"/>
          </a:xfrm>
          <a:prstGeom prst="rect">
            <a:avLst/>
          </a:prstGeom>
        </p:spPr>
        <p:txBody>
          <a:bodyPr wrap="square">
            <a:spAutoFit/>
          </a:bodyPr>
          <a:lstStyle/>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mazon S3 (Simple Storage Service) is object storage built to store and retrieve any amount of data from anywhere on the </a:t>
            </a:r>
            <a:r>
              <a:rPr lang="en-US" sz="1600" dirty="0" smtClean="0">
                <a:solidFill>
                  <a:schemeClr val="tx1">
                    <a:lumMod val="65000"/>
                    <a:lumOff val="35000"/>
                  </a:schemeClr>
                </a:solidFill>
              </a:rPr>
              <a:t>Internet.</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 S3 is a scalable, high-speed, web-based cloud storage </a:t>
            </a:r>
            <a:r>
              <a:rPr lang="en-US" sz="1600" dirty="0" smtClean="0">
                <a:solidFill>
                  <a:schemeClr val="tx1">
                    <a:lumMod val="65000"/>
                    <a:lumOff val="35000"/>
                  </a:schemeClr>
                </a:solidFill>
              </a:rPr>
              <a:t>service.</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n object consists of data, key (assigned name), and metadata.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 bucket is used to </a:t>
            </a:r>
            <a:r>
              <a:rPr lang="en-US" sz="1600" dirty="0">
                <a:solidFill>
                  <a:schemeClr val="tx1">
                    <a:lumMod val="65000"/>
                    <a:lumOff val="35000"/>
                  </a:schemeClr>
                </a:solidFill>
                <a:hlinkClick r:id="rId2"/>
              </a:rPr>
              <a:t>store objects</a:t>
            </a:r>
            <a:r>
              <a:rPr lang="en-US" sz="1600" dirty="0">
                <a:solidFill>
                  <a:schemeClr val="tx1">
                    <a:lumMod val="65000"/>
                    <a:lumOff val="35000"/>
                  </a:schemeClr>
                </a:solidFill>
              </a:rPr>
              <a:t>. When data is added to a bucket, Amazon S3 creates a unique version ID and allocates it to the object</a:t>
            </a:r>
            <a:r>
              <a:rPr lang="en-US" sz="1600" dirty="0" smtClean="0">
                <a:solidFill>
                  <a:schemeClr val="tx1">
                    <a:lumMod val="65000"/>
                    <a:lumOff val="35000"/>
                  </a:schemeClr>
                </a:solidFill>
              </a:rPr>
              <a:t>.</a:t>
            </a:r>
          </a:p>
          <a:p>
            <a:pPr marL="742950" lvl="1" indent="-285750">
              <a:lnSpc>
                <a:spcPct val="150000"/>
              </a:lnSpc>
              <a:buFont typeface="Arial" panose="020B0604020202020204" pitchFamily="34" charset="0"/>
              <a:buChar char="•"/>
            </a:pPr>
            <a:endParaRPr lang="en-US" sz="1600" dirty="0" smtClean="0">
              <a:solidFill>
                <a:schemeClr val="tx1">
                  <a:lumMod val="50000"/>
                  <a:lumOff val="50000"/>
                </a:schemeClr>
              </a:solidFill>
            </a:endParaRPr>
          </a:p>
          <a:p>
            <a:pPr marL="742950" lvl="1" indent="-285750">
              <a:lnSpc>
                <a:spcPct val="150000"/>
              </a:lnSpc>
              <a:buFont typeface="Arial" panose="020B0604020202020204" pitchFamily="34" charset="0"/>
              <a:buChar char="•"/>
            </a:pPr>
            <a:endParaRPr lang="en-US" sz="1600" dirty="0">
              <a:solidFill>
                <a:schemeClr val="tx1">
                  <a:lumMod val="50000"/>
                  <a:lumOff val="50000"/>
                </a:schemeClr>
              </a:solidFill>
            </a:endParaRPr>
          </a:p>
          <a:p>
            <a:pPr marL="742950" lvl="1" indent="-285750">
              <a:lnSpc>
                <a:spcPct val="150000"/>
              </a:lnSpc>
              <a:buFont typeface="Arial" panose="020B0604020202020204" pitchFamily="34" charset="0"/>
              <a:buChar char="•"/>
            </a:pPr>
            <a:endParaRPr lang="en-US" sz="1600" dirty="0" smtClean="0">
              <a:solidFill>
                <a:schemeClr val="tx1">
                  <a:lumMod val="50000"/>
                  <a:lumOff val="50000"/>
                </a:schemeClr>
              </a:solidFill>
            </a:endParaRPr>
          </a:p>
          <a:p>
            <a:pPr marL="742950" lvl="1" indent="-285750">
              <a:lnSpc>
                <a:spcPct val="150000"/>
              </a:lnSpc>
              <a:buFont typeface="Arial" panose="020B0604020202020204" pitchFamily="34" charset="0"/>
              <a:buChar char="•"/>
            </a:pPr>
            <a:endParaRPr lang="en-US" sz="1600" dirty="0">
              <a:solidFill>
                <a:schemeClr val="tx1">
                  <a:lumMod val="50000"/>
                  <a:lumOff val="50000"/>
                </a:schemeClr>
              </a:solidFill>
            </a:endParaRPr>
          </a:p>
          <a:p>
            <a:pPr lvl="1">
              <a:lnSpc>
                <a:spcPct val="150000"/>
              </a:lnSpc>
            </a:pPr>
            <a:endParaRPr lang="en-US" sz="1600" dirty="0">
              <a:solidFill>
                <a:schemeClr val="tx1">
                  <a:lumMod val="50000"/>
                  <a:lumOff val="50000"/>
                </a:schemeClr>
              </a:solidFill>
            </a:endParaRPr>
          </a:p>
          <a:p>
            <a:pPr marL="742950" lvl="1" indent="-285750">
              <a:lnSpc>
                <a:spcPct val="150000"/>
              </a:lnSpc>
              <a:buFont typeface="Arial" panose="020B0604020202020204" pitchFamily="34" charset="0"/>
              <a:buChar char="•"/>
            </a:pPr>
            <a:endParaRPr lang="en-US" sz="1600" dirty="0">
              <a:solidFill>
                <a:schemeClr val="tx1">
                  <a:lumMod val="50000"/>
                  <a:lumOff val="50000"/>
                </a:schemeClr>
              </a:solidFill>
            </a:endParaRPr>
          </a:p>
        </p:txBody>
      </p:sp>
      <p:pic>
        <p:nvPicPr>
          <p:cNvPr id="10242" name="Picture 2" descr="Example of an object, bucket, and link addres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5422" y="4509657"/>
            <a:ext cx="8524875" cy="1323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4491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6" name="Picture 5"/>
          <p:cNvPicPr>
            <a:picLocks noChangeAspect="1"/>
          </p:cNvPicPr>
          <p:nvPr/>
        </p:nvPicPr>
        <p:blipFill>
          <a:blip r:embed="rId2"/>
          <a:stretch>
            <a:fillRect/>
          </a:stretch>
        </p:blipFill>
        <p:spPr>
          <a:xfrm>
            <a:off x="-409575" y="-147637"/>
            <a:ext cx="12601575" cy="7084927"/>
          </a:xfrm>
          <a:prstGeom prst="rect">
            <a:avLst/>
          </a:prstGeom>
        </p:spPr>
      </p:pic>
      <p:pic>
        <p:nvPicPr>
          <p:cNvPr id="7" name="Picture 6"/>
          <p:cNvPicPr>
            <a:picLocks noChangeAspect="1"/>
          </p:cNvPicPr>
          <p:nvPr/>
        </p:nvPicPr>
        <p:blipFill>
          <a:blip r:embed="rId3"/>
          <a:stretch>
            <a:fillRect/>
          </a:stretch>
        </p:blipFill>
        <p:spPr>
          <a:xfrm>
            <a:off x="10160793" y="-147637"/>
            <a:ext cx="2031207" cy="2046769"/>
          </a:xfrm>
          <a:prstGeom prst="rect">
            <a:avLst/>
          </a:prstGeom>
        </p:spPr>
      </p:pic>
    </p:spTree>
    <p:extLst>
      <p:ext uri="{BB962C8B-B14F-4D97-AF65-F5344CB8AC3E}">
        <p14:creationId xmlns:p14="http://schemas.microsoft.com/office/powerpoint/2010/main" val="10165045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6" name="Picture 5"/>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28435557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20363243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1" name="Freeform 192"/>
            <p:cNvSpPr>
              <a:spLocks noEditPoints="1"/>
            </p:cNvSpPr>
            <p:nvPr/>
          </p:nvSpPr>
          <p:spPr bwMode="auto">
            <a:xfrm>
              <a:off x="4774970"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pic>
        <p:nvPicPr>
          <p:cNvPr id="23" name="Picture 245"/>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342735" y="520826"/>
            <a:ext cx="1568109"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948A2979-A456-4286-B8FC-8FF4C0C58EFD}"/>
              </a:ext>
            </a:extLst>
          </p:cNvPr>
          <p:cNvSpPr txBox="1"/>
          <p:nvPr/>
        </p:nvSpPr>
        <p:spPr>
          <a:xfrm>
            <a:off x="2093767" y="448640"/>
            <a:ext cx="6672648" cy="646331"/>
          </a:xfrm>
          <a:prstGeom prst="rect">
            <a:avLst/>
          </a:prstGeom>
          <a:noFill/>
        </p:spPr>
        <p:txBody>
          <a:bodyPr wrap="square" rtlCol="0" anchor="ctr">
            <a:spAutoFit/>
          </a:bodyPr>
          <a:lstStyle/>
          <a:p>
            <a:r>
              <a:rPr lang="en-US" sz="3600" dirty="0" smtClean="0">
                <a:solidFill>
                  <a:srgbClr val="20428F"/>
                </a:solidFill>
              </a:rPr>
              <a:t>Amazon Web Services Exam</a:t>
            </a:r>
            <a:endParaRPr lang="en-US" sz="3600" dirty="0">
              <a:solidFill>
                <a:srgbClr val="20428F"/>
              </a:solidFill>
            </a:endParaRPr>
          </a:p>
        </p:txBody>
      </p:sp>
      <p:sp>
        <p:nvSpPr>
          <p:cNvPr id="29" name="Freeform: Shape 5">
            <a:extLst>
              <a:ext uri="{FF2B5EF4-FFF2-40B4-BE49-F238E27FC236}">
                <a16:creationId xmlns:a16="http://schemas.microsoft.com/office/drawing/2014/main" id="{6E2E9094-67D8-4A7C-B3AF-095F1FFF635E}"/>
              </a:ext>
            </a:extLst>
          </p:cNvPr>
          <p:cNvSpPr/>
          <p:nvPr/>
        </p:nvSpPr>
        <p:spPr>
          <a:xfrm flipH="1">
            <a:off x="1727921" y="6611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 name="Rectangle 2"/>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grpSp>
        <p:nvGrpSpPr>
          <p:cNvPr id="31" name="Group 30"/>
          <p:cNvGrpSpPr/>
          <p:nvPr/>
        </p:nvGrpSpPr>
        <p:grpSpPr>
          <a:xfrm>
            <a:off x="9353015" y="0"/>
            <a:ext cx="1949298" cy="4993110"/>
            <a:chOff x="9190346" y="-651467"/>
            <a:chExt cx="2359950" cy="6044992"/>
          </a:xfrm>
        </p:grpSpPr>
        <p:sp>
          <p:nvSpPr>
            <p:cNvPr id="32"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3" name="Freeform 32"/>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
        <p:nvSpPr>
          <p:cNvPr id="12" name="Rectangle 11"/>
          <p:cNvSpPr/>
          <p:nvPr/>
        </p:nvSpPr>
        <p:spPr>
          <a:xfrm>
            <a:off x="1727921" y="2274838"/>
            <a:ext cx="7474296" cy="2308324"/>
          </a:xfrm>
          <a:prstGeom prst="rect">
            <a:avLst/>
          </a:prstGeom>
        </p:spPr>
        <p:txBody>
          <a:bodyPr wrap="square">
            <a:spAutoFit/>
          </a:bodyPr>
          <a:lstStyle/>
          <a:p>
            <a:r>
              <a:rPr lang="en-US" dirty="0"/>
              <a:t>AWS Cloud Computing White Papers:</a:t>
            </a:r>
          </a:p>
          <a:p>
            <a:r>
              <a:rPr lang="en-US" dirty="0"/>
              <a:t>Overview Of Amazon Web service</a:t>
            </a:r>
          </a:p>
          <a:p>
            <a:r>
              <a:rPr lang="en-US" dirty="0"/>
              <a:t>Overview of </a:t>
            </a:r>
            <a:r>
              <a:rPr lang="en-US" dirty="0" smtClean="0"/>
              <a:t>Security </a:t>
            </a:r>
            <a:r>
              <a:rPr lang="en-US" dirty="0"/>
              <a:t>Process</a:t>
            </a:r>
          </a:p>
          <a:p>
            <a:r>
              <a:rPr lang="en-US" dirty="0"/>
              <a:t>AWS Risk and Compliance Whitepaper</a:t>
            </a:r>
          </a:p>
          <a:p>
            <a:r>
              <a:rPr lang="en-US" dirty="0"/>
              <a:t>Storage Options in the Cloud</a:t>
            </a:r>
          </a:p>
          <a:p>
            <a:r>
              <a:rPr lang="en-US" dirty="0"/>
              <a:t>Architecting for the AWS Cloud: Best Practices</a:t>
            </a:r>
          </a:p>
          <a:p>
            <a:r>
              <a:rPr lang="en-US" dirty="0"/>
              <a:t>Well Architected Framework</a:t>
            </a:r>
          </a:p>
          <a:p>
            <a:r>
              <a:rPr lang="en-US" dirty="0"/>
              <a:t>Final Exam </a:t>
            </a:r>
          </a:p>
        </p:txBody>
      </p:sp>
    </p:spTree>
    <p:extLst>
      <p:ext uri="{BB962C8B-B14F-4D97-AF65-F5344CB8AC3E}">
        <p14:creationId xmlns:p14="http://schemas.microsoft.com/office/powerpoint/2010/main" val="98080302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46704945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a:blip r:embed="rId2"/>
          <a:stretch>
            <a:fillRect/>
          </a:stretch>
        </p:blipFill>
        <p:spPr>
          <a:xfrm>
            <a:off x="-409575" y="-228600"/>
            <a:ext cx="13011150" cy="7315200"/>
          </a:xfrm>
          <a:prstGeom prst="rect">
            <a:avLst/>
          </a:prstGeom>
        </p:spPr>
      </p:pic>
      <p:pic>
        <p:nvPicPr>
          <p:cNvPr id="6" name="Picture 5"/>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304547789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22401287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spTree>
    <p:extLst>
      <p:ext uri="{BB962C8B-B14F-4D97-AF65-F5344CB8AC3E}">
        <p14:creationId xmlns:p14="http://schemas.microsoft.com/office/powerpoint/2010/main" val="4172641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70368" y="-147637"/>
            <a:ext cx="2031207" cy="2046769"/>
          </a:xfrm>
          <a:prstGeom prst="rect">
            <a:avLst/>
          </a:prstGeom>
        </p:spPr>
      </p:pic>
      <p:pic>
        <p:nvPicPr>
          <p:cNvPr id="6" name="Picture 5"/>
          <p:cNvPicPr>
            <a:picLocks noChangeAspect="1"/>
          </p:cNvPicPr>
          <p:nvPr/>
        </p:nvPicPr>
        <p:blipFill>
          <a:blip r:embed="rId4"/>
          <a:stretch>
            <a:fillRect/>
          </a:stretch>
        </p:blipFill>
        <p:spPr>
          <a:xfrm>
            <a:off x="-257175" y="-76200"/>
            <a:ext cx="13011150" cy="7315200"/>
          </a:xfrm>
          <a:prstGeom prst="rect">
            <a:avLst/>
          </a:prstGeom>
        </p:spPr>
      </p:pic>
      <p:pic>
        <p:nvPicPr>
          <p:cNvPr id="7" name="Picture 6"/>
          <p:cNvPicPr>
            <a:picLocks noChangeAspect="1"/>
          </p:cNvPicPr>
          <p:nvPr/>
        </p:nvPicPr>
        <p:blipFill>
          <a:blip r:embed="rId3"/>
          <a:stretch>
            <a:fillRect/>
          </a:stretch>
        </p:blipFill>
        <p:spPr>
          <a:xfrm>
            <a:off x="10722768" y="4763"/>
            <a:ext cx="2031207" cy="2046769"/>
          </a:xfrm>
          <a:prstGeom prst="rect">
            <a:avLst/>
          </a:prstGeom>
        </p:spPr>
      </p:pic>
      <p:pic>
        <p:nvPicPr>
          <p:cNvPr id="8" name="Picture 7"/>
          <p:cNvPicPr>
            <a:picLocks noChangeAspect="1"/>
          </p:cNvPicPr>
          <p:nvPr/>
        </p:nvPicPr>
        <p:blipFill>
          <a:blip r:embed="rId2"/>
          <a:stretch>
            <a:fillRect/>
          </a:stretch>
        </p:blipFill>
        <p:spPr>
          <a:xfrm>
            <a:off x="-104775" y="76200"/>
            <a:ext cx="13011150" cy="7315200"/>
          </a:xfrm>
          <a:prstGeom prst="rect">
            <a:avLst/>
          </a:prstGeom>
        </p:spPr>
      </p:pic>
      <p:pic>
        <p:nvPicPr>
          <p:cNvPr id="9" name="Picture 8"/>
          <p:cNvPicPr>
            <a:picLocks noChangeAspect="1"/>
          </p:cNvPicPr>
          <p:nvPr/>
        </p:nvPicPr>
        <p:blipFill>
          <a:blip r:embed="rId3"/>
          <a:stretch>
            <a:fillRect/>
          </a:stretch>
        </p:blipFill>
        <p:spPr>
          <a:xfrm>
            <a:off x="10826352" y="-66674"/>
            <a:ext cx="2031207" cy="2046769"/>
          </a:xfrm>
          <a:prstGeom prst="rect">
            <a:avLst/>
          </a:prstGeom>
        </p:spPr>
      </p:pic>
    </p:spTree>
    <p:extLst>
      <p:ext uri="{BB962C8B-B14F-4D97-AF65-F5344CB8AC3E}">
        <p14:creationId xmlns:p14="http://schemas.microsoft.com/office/powerpoint/2010/main" val="41718375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73531"/>
            <a:ext cx="2031207" cy="2046769"/>
          </a:xfrm>
          <a:prstGeom prst="rect">
            <a:avLst/>
          </a:prstGeom>
        </p:spPr>
      </p:pic>
    </p:spTree>
    <p:extLst>
      <p:ext uri="{BB962C8B-B14F-4D97-AF65-F5344CB8AC3E}">
        <p14:creationId xmlns:p14="http://schemas.microsoft.com/office/powerpoint/2010/main" val="8309009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37262960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25151037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221303802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21479175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pic>
        <p:nvPicPr>
          <p:cNvPr id="23" name="Picture 245"/>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342735" y="520826"/>
            <a:ext cx="1568109"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948A2979-A456-4286-B8FC-8FF4C0C58EFD}"/>
              </a:ext>
            </a:extLst>
          </p:cNvPr>
          <p:cNvSpPr txBox="1"/>
          <p:nvPr/>
        </p:nvSpPr>
        <p:spPr>
          <a:xfrm>
            <a:off x="2093767" y="448640"/>
            <a:ext cx="6672648" cy="646331"/>
          </a:xfrm>
          <a:prstGeom prst="rect">
            <a:avLst/>
          </a:prstGeom>
          <a:noFill/>
        </p:spPr>
        <p:txBody>
          <a:bodyPr wrap="square" rtlCol="0" anchor="ctr">
            <a:spAutoFit/>
          </a:bodyPr>
          <a:lstStyle/>
          <a:p>
            <a:r>
              <a:rPr lang="en-US" sz="3600" dirty="0" smtClean="0">
                <a:solidFill>
                  <a:srgbClr val="20428F"/>
                </a:solidFill>
              </a:rPr>
              <a:t>Amazon Web Services</a:t>
            </a:r>
            <a:endParaRPr lang="en-US" sz="3600" dirty="0">
              <a:solidFill>
                <a:srgbClr val="20428F"/>
              </a:solidFill>
            </a:endParaRPr>
          </a:p>
        </p:txBody>
      </p:sp>
      <p:sp>
        <p:nvSpPr>
          <p:cNvPr id="29" name="Freeform: Shape 5">
            <a:extLst>
              <a:ext uri="{FF2B5EF4-FFF2-40B4-BE49-F238E27FC236}">
                <a16:creationId xmlns:a16="http://schemas.microsoft.com/office/drawing/2014/main" id="{6E2E9094-67D8-4A7C-B3AF-095F1FFF635E}"/>
              </a:ext>
            </a:extLst>
          </p:cNvPr>
          <p:cNvSpPr/>
          <p:nvPr/>
        </p:nvSpPr>
        <p:spPr>
          <a:xfrm flipH="1">
            <a:off x="1727921" y="6611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 name="Rectangle 2"/>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grpSp>
        <p:nvGrpSpPr>
          <p:cNvPr id="31" name="Group 30"/>
          <p:cNvGrpSpPr/>
          <p:nvPr/>
        </p:nvGrpSpPr>
        <p:grpSpPr>
          <a:xfrm>
            <a:off x="9353015" y="0"/>
            <a:ext cx="1949298" cy="4993110"/>
            <a:chOff x="9190346" y="-651467"/>
            <a:chExt cx="2359950" cy="6044992"/>
          </a:xfrm>
        </p:grpSpPr>
        <p:sp>
          <p:nvSpPr>
            <p:cNvPr id="32"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3" name="Freeform 32"/>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
        <p:nvSpPr>
          <p:cNvPr id="2" name="Rectangle 1"/>
          <p:cNvSpPr/>
          <p:nvPr/>
        </p:nvSpPr>
        <p:spPr>
          <a:xfrm>
            <a:off x="559547" y="2556767"/>
            <a:ext cx="8334111" cy="1477328"/>
          </a:xfrm>
          <a:prstGeom prst="rect">
            <a:avLst/>
          </a:prstGeom>
        </p:spPr>
        <p:txBody>
          <a:bodyPr wrap="square">
            <a:spAutoFit/>
          </a:bodyPr>
          <a:lstStyle/>
          <a:p>
            <a:pPr lvl="1">
              <a:lnSpc>
                <a:spcPct val="150000"/>
              </a:lnSpc>
            </a:pPr>
            <a:r>
              <a:rPr lang="en-US" sz="2000" dirty="0">
                <a:solidFill>
                  <a:schemeClr val="tx1">
                    <a:lumMod val="65000"/>
                    <a:lumOff val="35000"/>
                  </a:schemeClr>
                </a:solidFill>
              </a:rPr>
              <a:t>AWS offers a broad set of global cloud-based products including compute, storage, database, analytics, networking, machine learning and AI, mobile, developer tools, </a:t>
            </a:r>
            <a:r>
              <a:rPr lang="en-US" sz="2000" dirty="0" err="1">
                <a:solidFill>
                  <a:schemeClr val="tx1">
                    <a:lumMod val="65000"/>
                    <a:lumOff val="35000"/>
                  </a:schemeClr>
                </a:solidFill>
              </a:rPr>
              <a:t>IoT</a:t>
            </a:r>
            <a:r>
              <a:rPr lang="en-US" sz="2000" dirty="0">
                <a:solidFill>
                  <a:schemeClr val="tx1">
                    <a:lumMod val="65000"/>
                    <a:lumOff val="35000"/>
                  </a:schemeClr>
                </a:solidFill>
              </a:rPr>
              <a:t>, security, enterprise applications, and much more</a:t>
            </a:r>
          </a:p>
        </p:txBody>
      </p:sp>
    </p:spTree>
    <p:extLst>
      <p:ext uri="{BB962C8B-B14F-4D97-AF65-F5344CB8AC3E}">
        <p14:creationId xmlns:p14="http://schemas.microsoft.com/office/powerpoint/2010/main" val="30254407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36098021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195858870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125394037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34724524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6" name="Picture 5"/>
          <p:cNvPicPr>
            <a:picLocks noChangeAspect="1"/>
          </p:cNvPicPr>
          <p:nvPr/>
        </p:nvPicPr>
        <p:blipFill>
          <a:blip r:embed="rId2"/>
          <a:stretch>
            <a:fillRect/>
          </a:stretch>
        </p:blipFill>
        <p:spPr>
          <a:xfrm>
            <a:off x="-409575" y="-228600"/>
            <a:ext cx="13011150" cy="7315200"/>
          </a:xfrm>
          <a:prstGeom prst="rect">
            <a:avLst/>
          </a:prstGeom>
        </p:spPr>
      </p:pic>
      <p:pic>
        <p:nvPicPr>
          <p:cNvPr id="7" name="Picture 6"/>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20847162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2046769"/>
          </a:xfrm>
          <a:prstGeom prst="rect">
            <a:avLst/>
          </a:prstGeom>
        </p:spPr>
      </p:pic>
    </p:spTree>
    <p:extLst>
      <p:ext uri="{BB962C8B-B14F-4D97-AF65-F5344CB8AC3E}">
        <p14:creationId xmlns:p14="http://schemas.microsoft.com/office/powerpoint/2010/main" val="320008225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29137888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106941106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70227555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32955646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grpSp>
        <p:nvGrpSpPr>
          <p:cNvPr id="24" name="Group 23"/>
          <p:cNvGrpSpPr/>
          <p:nvPr/>
        </p:nvGrpSpPr>
        <p:grpSpPr>
          <a:xfrm>
            <a:off x="9353015" y="0"/>
            <a:ext cx="1949298" cy="4993110"/>
            <a:chOff x="9190346" y="-651467"/>
            <a:chExt cx="2359950" cy="6044992"/>
          </a:xfrm>
        </p:grpSpPr>
        <p:sp>
          <p:nvSpPr>
            <p:cNvPr id="25"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0" name="Freeform 29"/>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
        <p:nvSpPr>
          <p:cNvPr id="36" name="TextBox 35">
            <a:extLst>
              <a:ext uri="{FF2B5EF4-FFF2-40B4-BE49-F238E27FC236}">
                <a16:creationId xmlns:a16="http://schemas.microsoft.com/office/drawing/2014/main" id="{948A2979-A456-4286-B8FC-8FF4C0C58EFD}"/>
              </a:ext>
            </a:extLst>
          </p:cNvPr>
          <p:cNvSpPr txBox="1"/>
          <p:nvPr/>
        </p:nvSpPr>
        <p:spPr>
          <a:xfrm>
            <a:off x="2077348" y="453513"/>
            <a:ext cx="6672648" cy="646331"/>
          </a:xfrm>
          <a:prstGeom prst="rect">
            <a:avLst/>
          </a:prstGeom>
          <a:noFill/>
        </p:spPr>
        <p:txBody>
          <a:bodyPr wrap="square" rtlCol="0" anchor="ctr">
            <a:spAutoFit/>
          </a:bodyPr>
          <a:lstStyle/>
          <a:p>
            <a:r>
              <a:rPr lang="en-US" sz="3600" dirty="0">
                <a:solidFill>
                  <a:srgbClr val="20428F"/>
                </a:solidFill>
              </a:rPr>
              <a:t>AWS User Accounts</a:t>
            </a:r>
          </a:p>
        </p:txBody>
      </p:sp>
      <p:sp>
        <p:nvSpPr>
          <p:cNvPr id="38"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28" name="Rectangle 27"/>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32" name="TextBox 31"/>
          <p:cNvSpPr txBox="1"/>
          <p:nvPr/>
        </p:nvSpPr>
        <p:spPr>
          <a:xfrm>
            <a:off x="1113668" y="1902079"/>
            <a:ext cx="9155151" cy="4539704"/>
          </a:xfrm>
          <a:prstGeom prst="rect">
            <a:avLst/>
          </a:prstGeom>
          <a:noFill/>
        </p:spPr>
        <p:txBody>
          <a:bodyPr wrap="square" rtlCol="0">
            <a:spAutoFit/>
          </a:bodyPr>
          <a:lstStyle/>
          <a:p>
            <a:r>
              <a:rPr lang="en-US" dirty="0" smtClean="0">
                <a:solidFill>
                  <a:schemeClr val="tx1">
                    <a:lumMod val="65000"/>
                    <a:lumOff val="35000"/>
                  </a:schemeClr>
                </a:solidFill>
              </a:rPr>
              <a:t>There are two types of users:</a:t>
            </a:r>
          </a:p>
          <a:p>
            <a:endParaRPr lang="en-US" sz="2000" dirty="0"/>
          </a:p>
          <a:p>
            <a:r>
              <a:rPr lang="en-US" sz="2400" dirty="0">
                <a:solidFill>
                  <a:srgbClr val="20428F"/>
                </a:solidFill>
              </a:rPr>
              <a:t>Root User </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Account owner</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Created </a:t>
            </a:r>
            <a:r>
              <a:rPr lang="en-US" sz="1600" dirty="0">
                <a:solidFill>
                  <a:schemeClr val="tx1">
                    <a:lumMod val="65000"/>
                    <a:lumOff val="35000"/>
                  </a:schemeClr>
                </a:solidFill>
              </a:rPr>
              <a:t>when the AWS account is </a:t>
            </a:r>
            <a:r>
              <a:rPr lang="en-US" sz="1600" dirty="0" smtClean="0">
                <a:solidFill>
                  <a:schemeClr val="tx1">
                    <a:lumMod val="65000"/>
                    <a:lumOff val="35000"/>
                  </a:schemeClr>
                </a:solidFill>
              </a:rPr>
              <a:t>created</a:t>
            </a:r>
          </a:p>
          <a:p>
            <a:pPr marL="742950" lvl="1" indent="-285750">
              <a:lnSpc>
                <a:spcPct val="150000"/>
              </a:lnSpc>
              <a:buFont typeface="Arial" panose="020B0604020202020204" pitchFamily="34" charset="0"/>
              <a:buChar char="•"/>
            </a:pPr>
            <a:r>
              <a:rPr lang="en-US" sz="1600" dirty="0">
                <a:solidFill>
                  <a:schemeClr val="tx1">
                    <a:lumMod val="65000"/>
                    <a:lumOff val="35000"/>
                  </a:schemeClr>
                </a:solidFill>
              </a:rPr>
              <a:t>A</a:t>
            </a:r>
            <a:r>
              <a:rPr lang="en-US" sz="1600" dirty="0" smtClean="0">
                <a:solidFill>
                  <a:schemeClr val="tx1">
                    <a:lumMod val="65000"/>
                    <a:lumOff val="35000"/>
                  </a:schemeClr>
                </a:solidFill>
              </a:rPr>
              <a:t>llow </a:t>
            </a:r>
            <a:r>
              <a:rPr lang="en-US" sz="1600" dirty="0">
                <a:solidFill>
                  <a:schemeClr val="tx1">
                    <a:lumMod val="65000"/>
                    <a:lumOff val="35000"/>
                  </a:schemeClr>
                </a:solidFill>
              </a:rPr>
              <a:t>full access to all resources in the </a:t>
            </a:r>
            <a:r>
              <a:rPr lang="en-US" sz="1600" dirty="0" smtClean="0">
                <a:solidFill>
                  <a:schemeClr val="tx1">
                    <a:lumMod val="65000"/>
                    <a:lumOff val="35000"/>
                  </a:schemeClr>
                </a:solidFill>
              </a:rPr>
              <a:t>account</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Only </a:t>
            </a:r>
            <a:r>
              <a:rPr lang="en-US" sz="1600" dirty="0">
                <a:solidFill>
                  <a:schemeClr val="tx1">
                    <a:lumMod val="65000"/>
                    <a:lumOff val="35000"/>
                  </a:schemeClr>
                </a:solidFill>
              </a:rPr>
              <a:t>the root user can close your account</a:t>
            </a:r>
            <a:r>
              <a:rPr lang="en-US" sz="1600" dirty="0" smtClean="0">
                <a:solidFill>
                  <a:schemeClr val="tx1">
                    <a:lumMod val="65000"/>
                    <a:lumOff val="35000"/>
                  </a:schemeClr>
                </a:solidFill>
              </a:rPr>
              <a:t> </a:t>
            </a:r>
          </a:p>
          <a:p>
            <a:endParaRPr lang="en-US" sz="2000" dirty="0"/>
          </a:p>
          <a:p>
            <a:r>
              <a:rPr lang="en-US" sz="2400" dirty="0">
                <a:solidFill>
                  <a:srgbClr val="20428F"/>
                </a:solidFill>
              </a:rPr>
              <a:t>AWS Identity and Access Management (IAM) user</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Created by </a:t>
            </a:r>
            <a:r>
              <a:rPr lang="en-US" sz="1600" dirty="0">
                <a:solidFill>
                  <a:schemeClr val="tx1">
                    <a:lumMod val="65000"/>
                    <a:lumOff val="35000"/>
                  </a:schemeClr>
                </a:solidFill>
              </a:rPr>
              <a:t>the root user or an IAM administrator for the account </a:t>
            </a:r>
            <a:endParaRPr lang="en-US" sz="1600" dirty="0" smtClean="0">
              <a:solidFill>
                <a:schemeClr val="tx1">
                  <a:lumMod val="65000"/>
                  <a:lumOff val="35000"/>
                </a:schemeClr>
              </a:solidFill>
            </a:endParaRP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Securely </a:t>
            </a:r>
            <a:r>
              <a:rPr lang="en-US" sz="1600" dirty="0">
                <a:solidFill>
                  <a:schemeClr val="tx1">
                    <a:lumMod val="65000"/>
                    <a:lumOff val="35000"/>
                  </a:schemeClr>
                </a:solidFill>
              </a:rPr>
              <a:t>control access to AWS services and resources</a:t>
            </a:r>
            <a:r>
              <a:rPr lang="en-US" sz="1600" dirty="0"/>
              <a:t> </a:t>
            </a:r>
            <a:r>
              <a:rPr lang="en-US" dirty="0"/>
              <a:t> </a:t>
            </a:r>
            <a:endParaRPr lang="en-US" dirty="0" smtClean="0"/>
          </a:p>
          <a:p>
            <a:endParaRPr lang="en-US" dirty="0"/>
          </a:p>
          <a:p>
            <a:endParaRPr lang="en-US" dirty="0"/>
          </a:p>
        </p:txBody>
      </p:sp>
    </p:spTree>
    <p:extLst>
      <p:ext uri="{BB962C8B-B14F-4D97-AF65-F5344CB8AC3E}">
        <p14:creationId xmlns:p14="http://schemas.microsoft.com/office/powerpoint/2010/main" val="7132727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30239045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409575" y="-228600"/>
            <a:ext cx="13011150" cy="7315200"/>
          </a:xfrm>
          <a:prstGeom prst="rect">
            <a:avLst/>
          </a:prstGeom>
        </p:spPr>
      </p:pic>
      <p:pic>
        <p:nvPicPr>
          <p:cNvPr id="5" name="Picture 4"/>
          <p:cNvPicPr>
            <a:picLocks noChangeAspect="1"/>
          </p:cNvPicPr>
          <p:nvPr/>
        </p:nvPicPr>
        <p:blipFill>
          <a:blip r:embed="rId3"/>
          <a:stretch>
            <a:fillRect/>
          </a:stretch>
        </p:blipFill>
        <p:spPr>
          <a:xfrm>
            <a:off x="10521552" y="-228600"/>
            <a:ext cx="2031207" cy="1919288"/>
          </a:xfrm>
          <a:prstGeom prst="rect">
            <a:avLst/>
          </a:prstGeom>
        </p:spPr>
      </p:pic>
    </p:spTree>
    <p:extLst>
      <p:ext uri="{BB962C8B-B14F-4D97-AF65-F5344CB8AC3E}">
        <p14:creationId xmlns:p14="http://schemas.microsoft.com/office/powerpoint/2010/main" val="5350856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grpSp>
        <p:nvGrpSpPr>
          <p:cNvPr id="24" name="Group 23"/>
          <p:cNvGrpSpPr/>
          <p:nvPr/>
        </p:nvGrpSpPr>
        <p:grpSpPr>
          <a:xfrm>
            <a:off x="9353015" y="0"/>
            <a:ext cx="1949298" cy="4993110"/>
            <a:chOff x="9190346" y="-651467"/>
            <a:chExt cx="2359950" cy="6044992"/>
          </a:xfrm>
        </p:grpSpPr>
        <p:sp>
          <p:nvSpPr>
            <p:cNvPr id="25"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0" name="Freeform 29"/>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
        <p:nvSpPr>
          <p:cNvPr id="36" name="TextBox 35">
            <a:extLst>
              <a:ext uri="{FF2B5EF4-FFF2-40B4-BE49-F238E27FC236}">
                <a16:creationId xmlns:a16="http://schemas.microsoft.com/office/drawing/2014/main" id="{948A2979-A456-4286-B8FC-8FF4C0C58EFD}"/>
              </a:ext>
            </a:extLst>
          </p:cNvPr>
          <p:cNvSpPr txBox="1"/>
          <p:nvPr/>
        </p:nvSpPr>
        <p:spPr>
          <a:xfrm>
            <a:off x="2077348" y="453513"/>
            <a:ext cx="6672648" cy="646331"/>
          </a:xfrm>
          <a:prstGeom prst="rect">
            <a:avLst/>
          </a:prstGeom>
          <a:noFill/>
        </p:spPr>
        <p:txBody>
          <a:bodyPr wrap="square" rtlCol="0" anchor="ctr">
            <a:spAutoFit/>
          </a:bodyPr>
          <a:lstStyle/>
          <a:p>
            <a:r>
              <a:rPr lang="en-US" sz="3600" dirty="0">
                <a:solidFill>
                  <a:srgbClr val="20428F"/>
                </a:solidFill>
              </a:rPr>
              <a:t>AWS </a:t>
            </a:r>
            <a:r>
              <a:rPr lang="en-US" sz="3600" dirty="0" smtClean="0">
                <a:solidFill>
                  <a:srgbClr val="20428F"/>
                </a:solidFill>
              </a:rPr>
              <a:t>Connectivity</a:t>
            </a:r>
            <a:endParaRPr lang="en-US" sz="3600" dirty="0">
              <a:solidFill>
                <a:srgbClr val="20428F"/>
              </a:solidFill>
            </a:endParaRPr>
          </a:p>
        </p:txBody>
      </p:sp>
      <p:sp>
        <p:nvSpPr>
          <p:cNvPr id="38"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28" name="Rectangle 27"/>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pic>
        <p:nvPicPr>
          <p:cNvPr id="33" name="Picture 2" descr="© 2019, Amazon Web Services, Inc. or its affiliates. All rights reserved.&#10;AWS Management Console&#10;Easy-to-use graphical int..."/>
          <p:cNvPicPr>
            <a:picLocks noChangeAspect="1" noChangeArrowheads="1"/>
          </p:cNvPicPr>
          <p:nvPr/>
        </p:nvPicPr>
        <p:blipFill rotWithShape="1">
          <a:blip r:embed="rId3">
            <a:extLst>
              <a:ext uri="{28A0092B-C50C-407E-A947-70E740481C1C}">
                <a14:useLocalDpi xmlns:a14="http://schemas.microsoft.com/office/drawing/2010/main" val="0"/>
              </a:ext>
            </a:extLst>
          </a:blip>
          <a:srcRect l="-4773" t="-8796" r="4773" b="8796"/>
          <a:stretch/>
        </p:blipFill>
        <p:spPr bwMode="auto">
          <a:xfrm>
            <a:off x="1118806" y="1663172"/>
            <a:ext cx="7344522" cy="41327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7784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980452" y="6568832"/>
            <a:ext cx="6212434" cy="276999"/>
            <a:chOff x="2906112" y="6568832"/>
            <a:chExt cx="6212434" cy="276999"/>
          </a:xfrm>
        </p:grpSpPr>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1" name="Freeform 192"/>
            <p:cNvSpPr>
              <a:spLocks noEditPoints="1"/>
            </p:cNvSpPr>
            <p:nvPr/>
          </p:nvSpPr>
          <p:spPr bwMode="auto">
            <a:xfrm>
              <a:off x="4774970"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sp>
        <p:nvSpPr>
          <p:cNvPr id="36" name="TextBox 35">
            <a:extLst>
              <a:ext uri="{FF2B5EF4-FFF2-40B4-BE49-F238E27FC236}">
                <a16:creationId xmlns:a16="http://schemas.microsoft.com/office/drawing/2014/main" id="{948A2979-A456-4286-B8FC-8FF4C0C58EFD}"/>
              </a:ext>
            </a:extLst>
          </p:cNvPr>
          <p:cNvSpPr txBox="1"/>
          <p:nvPr/>
        </p:nvSpPr>
        <p:spPr>
          <a:xfrm>
            <a:off x="2077348" y="453513"/>
            <a:ext cx="6672648" cy="646331"/>
          </a:xfrm>
          <a:prstGeom prst="rect">
            <a:avLst/>
          </a:prstGeom>
          <a:noFill/>
        </p:spPr>
        <p:txBody>
          <a:bodyPr wrap="square" rtlCol="0" anchor="ctr">
            <a:spAutoFit/>
          </a:bodyPr>
          <a:lstStyle/>
          <a:p>
            <a:r>
              <a:rPr lang="en-US" sz="3600" dirty="0" smtClean="0">
                <a:solidFill>
                  <a:srgbClr val="20428F"/>
                </a:solidFill>
              </a:rPr>
              <a:t>Regions and Zones</a:t>
            </a:r>
            <a:endParaRPr lang="en-US" sz="3600" dirty="0">
              <a:solidFill>
                <a:srgbClr val="20428F"/>
              </a:solidFill>
            </a:endParaRPr>
          </a:p>
        </p:txBody>
      </p:sp>
      <p:sp>
        <p:nvSpPr>
          <p:cNvPr id="38"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28" name="Rectangle 27"/>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sp>
        <p:nvSpPr>
          <p:cNvPr id="32" name="TextBox 31"/>
          <p:cNvSpPr txBox="1"/>
          <p:nvPr/>
        </p:nvSpPr>
        <p:spPr>
          <a:xfrm>
            <a:off x="704354" y="1709819"/>
            <a:ext cx="9155151" cy="2739211"/>
          </a:xfrm>
          <a:prstGeom prst="rect">
            <a:avLst/>
          </a:prstGeom>
          <a:noFill/>
        </p:spPr>
        <p:txBody>
          <a:bodyPr wrap="square" rtlCol="0">
            <a:spAutoFit/>
          </a:bodyPr>
          <a:lstStyle/>
          <a:p>
            <a:pPr lvl="1">
              <a:lnSpc>
                <a:spcPct val="150000"/>
              </a:lnSpc>
            </a:pPr>
            <a:r>
              <a:rPr lang="en-US" sz="1600" dirty="0">
                <a:solidFill>
                  <a:schemeClr val="tx1">
                    <a:lumMod val="65000"/>
                    <a:lumOff val="35000"/>
                  </a:schemeClr>
                </a:solidFill>
              </a:rPr>
              <a:t>Amazon EC2 is hosted in multiple locations </a:t>
            </a:r>
            <a:r>
              <a:rPr lang="en-US" sz="1600" dirty="0" smtClean="0">
                <a:solidFill>
                  <a:schemeClr val="tx1">
                    <a:lumMod val="65000"/>
                    <a:lumOff val="35000"/>
                  </a:schemeClr>
                </a:solidFill>
              </a:rPr>
              <a:t>world-wide. These </a:t>
            </a:r>
            <a:r>
              <a:rPr lang="en-US" sz="1600" dirty="0">
                <a:solidFill>
                  <a:schemeClr val="tx1">
                    <a:lumMod val="65000"/>
                    <a:lumOff val="35000"/>
                  </a:schemeClr>
                </a:solidFill>
              </a:rPr>
              <a:t>locations are composed of Regions, Availability Zones, Local Zones, AWS Outposts, and Wavelength Zones. </a:t>
            </a:r>
            <a:r>
              <a:rPr lang="en-US" sz="1600" dirty="0" smtClean="0">
                <a:solidFill>
                  <a:schemeClr val="tx1">
                    <a:lumMod val="65000"/>
                    <a:lumOff val="35000"/>
                  </a:schemeClr>
                </a:solidFill>
              </a:rPr>
              <a:t>Each</a:t>
            </a:r>
            <a:r>
              <a:rPr lang="en-US" sz="1600" dirty="0">
                <a:solidFill>
                  <a:schemeClr val="tx1">
                    <a:lumMod val="65000"/>
                    <a:lumOff val="35000"/>
                  </a:schemeClr>
                </a:solidFill>
              </a:rPr>
              <a:t> Region is a separate geographic </a:t>
            </a:r>
            <a:r>
              <a:rPr lang="en-US" sz="1600" dirty="0" smtClean="0">
                <a:solidFill>
                  <a:schemeClr val="tx1">
                    <a:lumMod val="65000"/>
                    <a:lumOff val="35000"/>
                  </a:schemeClr>
                </a:solidFill>
              </a:rPr>
              <a:t>area.</a:t>
            </a:r>
          </a:p>
          <a:p>
            <a:pPr lvl="1">
              <a:lnSpc>
                <a:spcPct val="150000"/>
              </a:lnSpc>
            </a:pPr>
            <a:endParaRPr lang="en-US" sz="1600" dirty="0">
              <a:solidFill>
                <a:schemeClr val="tx1">
                  <a:lumMod val="65000"/>
                  <a:lumOff val="35000"/>
                </a:schemeClr>
              </a:solidFill>
            </a:endParaRPr>
          </a:p>
          <a:p>
            <a:pPr lvl="1">
              <a:lnSpc>
                <a:spcPct val="150000"/>
              </a:lnSpc>
            </a:pPr>
            <a:endParaRPr lang="en-US" sz="1600" dirty="0" smtClean="0">
              <a:solidFill>
                <a:schemeClr val="tx1">
                  <a:lumMod val="65000"/>
                  <a:lumOff val="35000"/>
                </a:schemeClr>
              </a:solidFill>
            </a:endParaRPr>
          </a:p>
          <a:p>
            <a:pPr lvl="1"/>
            <a:r>
              <a:rPr lang="en-US" sz="1600" dirty="0">
                <a:solidFill>
                  <a:schemeClr val="tx1">
                    <a:lumMod val="65000"/>
                    <a:lumOff val="35000"/>
                  </a:schemeClr>
                </a:solidFill>
              </a:rPr>
              <a:t> </a:t>
            </a:r>
          </a:p>
          <a:p>
            <a:endParaRPr lang="en-US" dirty="0"/>
          </a:p>
          <a:p>
            <a:endParaRPr lang="en-US" dirty="0"/>
          </a:p>
        </p:txBody>
      </p:sp>
      <p:sp>
        <p:nvSpPr>
          <p:cNvPr id="2" name="AutoShape 2" descr="&#10;    Regions&#10;   "/>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p:cNvPicPr>
            <a:picLocks noChangeAspect="1"/>
          </p:cNvPicPr>
          <p:nvPr/>
        </p:nvPicPr>
        <p:blipFill>
          <a:blip r:embed="rId2"/>
          <a:stretch>
            <a:fillRect/>
          </a:stretch>
        </p:blipFill>
        <p:spPr>
          <a:xfrm>
            <a:off x="1005431" y="3222863"/>
            <a:ext cx="8927825" cy="2539373"/>
          </a:xfrm>
          <a:prstGeom prst="rect">
            <a:avLst/>
          </a:prstGeom>
        </p:spPr>
      </p:pic>
      <p:grpSp>
        <p:nvGrpSpPr>
          <p:cNvPr id="33" name="Group 32"/>
          <p:cNvGrpSpPr/>
          <p:nvPr/>
        </p:nvGrpSpPr>
        <p:grpSpPr>
          <a:xfrm>
            <a:off x="9975383" y="0"/>
            <a:ext cx="1949298" cy="4993110"/>
            <a:chOff x="9190346" y="-651467"/>
            <a:chExt cx="2359950" cy="6044992"/>
          </a:xfrm>
        </p:grpSpPr>
        <p:sp>
          <p:nvSpPr>
            <p:cNvPr id="34" name="Rectangle 67"/>
            <p:cNvSpPr>
              <a:spLocks noChangeArrowheads="1"/>
            </p:cNvSpPr>
            <p:nvPr/>
          </p:nvSpPr>
          <p:spPr bwMode="auto">
            <a:xfrm>
              <a:off x="10349684" y="-651467"/>
              <a:ext cx="41275" cy="3913393"/>
            </a:xfrm>
            <a:prstGeom prst="rect">
              <a:avLst/>
            </a:pr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sp>
          <p:nvSpPr>
            <p:cNvPr id="35" name="Freeform 34"/>
            <p:cNvSpPr>
              <a:spLocks/>
            </p:cNvSpPr>
            <p:nvPr/>
          </p:nvSpPr>
          <p:spPr bwMode="auto">
            <a:xfrm>
              <a:off x="9190346" y="1543293"/>
              <a:ext cx="2359950" cy="3850232"/>
            </a:xfrm>
            <a:custGeom>
              <a:avLst/>
              <a:gdLst>
                <a:gd name="connsiteX0" fmla="*/ 581983 w 1625540"/>
                <a:gd name="connsiteY0" fmla="*/ 644031 h 2652050"/>
                <a:gd name="connsiteX1" fmla="*/ 809425 w 1625540"/>
                <a:gd name="connsiteY1" fmla="*/ 644031 h 2652050"/>
                <a:gd name="connsiteX2" fmla="*/ 1043557 w 1625540"/>
                <a:gd name="connsiteY2" fmla="*/ 644031 h 2652050"/>
                <a:gd name="connsiteX3" fmla="*/ 1230862 w 1625540"/>
                <a:gd name="connsiteY3" fmla="*/ 844166 h 2652050"/>
                <a:gd name="connsiteX4" fmla="*/ 1511819 w 1625540"/>
                <a:gd name="connsiteY4" fmla="*/ 1437899 h 2652050"/>
                <a:gd name="connsiteX5" fmla="*/ 1625540 w 1625540"/>
                <a:gd name="connsiteY5" fmla="*/ 1838169 h 2652050"/>
                <a:gd name="connsiteX6" fmla="*/ 809425 w 1625540"/>
                <a:gd name="connsiteY6" fmla="*/ 2652050 h 2652050"/>
                <a:gd name="connsiteX7" fmla="*/ 0 w 1625540"/>
                <a:gd name="connsiteY7" fmla="*/ 1838169 h 2652050"/>
                <a:gd name="connsiteX8" fmla="*/ 107031 w 1625540"/>
                <a:gd name="connsiteY8" fmla="*/ 1437899 h 2652050"/>
                <a:gd name="connsiteX9" fmla="*/ 394678 w 1625540"/>
                <a:gd name="connsiteY9" fmla="*/ 844166 h 2652050"/>
                <a:gd name="connsiteX10" fmla="*/ 581983 w 1625540"/>
                <a:gd name="connsiteY10" fmla="*/ 644031 h 2652050"/>
                <a:gd name="connsiteX11" fmla="*/ 809438 w 1625540"/>
                <a:gd name="connsiteY11" fmla="*/ 0 h 2652050"/>
                <a:gd name="connsiteX12" fmla="*/ 809700 w 1625540"/>
                <a:gd name="connsiteY12" fmla="*/ 29 h 2652050"/>
                <a:gd name="connsiteX13" fmla="*/ 809959 w 1625540"/>
                <a:gd name="connsiteY13" fmla="*/ 0 h 2652050"/>
                <a:gd name="connsiteX14" fmla="*/ 809959 w 1625540"/>
                <a:gd name="connsiteY14" fmla="*/ 58 h 2652050"/>
                <a:gd name="connsiteX15" fmla="*/ 905579 w 1625540"/>
                <a:gd name="connsiteY15" fmla="*/ 10730 h 2652050"/>
                <a:gd name="connsiteX16" fmla="*/ 1082757 w 1625540"/>
                <a:gd name="connsiteY16" fmla="*/ 151867 h 2652050"/>
                <a:gd name="connsiteX17" fmla="*/ 1097180 w 1625540"/>
                <a:gd name="connsiteY17" fmla="*/ 151867 h 2652050"/>
                <a:gd name="connsiteX18" fmla="*/ 1110424 w 1625540"/>
                <a:gd name="connsiteY18" fmla="*/ 151867 h 2652050"/>
                <a:gd name="connsiteX19" fmla="*/ 1184001 w 1625540"/>
                <a:gd name="connsiteY19" fmla="*/ 232020 h 2652050"/>
                <a:gd name="connsiteX20" fmla="*/ 1110424 w 1625540"/>
                <a:gd name="connsiteY20" fmla="*/ 312172 h 2652050"/>
                <a:gd name="connsiteX21" fmla="*/ 1119402 w 1625540"/>
                <a:gd name="connsiteY21" fmla="*/ 312172 h 2652050"/>
                <a:gd name="connsiteX22" fmla="*/ 1123499 w 1625540"/>
                <a:gd name="connsiteY22" fmla="*/ 312172 h 2652050"/>
                <a:gd name="connsiteX23" fmla="*/ 1203687 w 1625540"/>
                <a:gd name="connsiteY23" fmla="*/ 398456 h 2652050"/>
                <a:gd name="connsiteX24" fmla="*/ 1152943 w 1625540"/>
                <a:gd name="connsiteY24" fmla="*/ 472191 h 2652050"/>
                <a:gd name="connsiteX25" fmla="*/ 1123509 w 1625540"/>
                <a:gd name="connsiteY25" fmla="*/ 478100 h 2652050"/>
                <a:gd name="connsiteX26" fmla="*/ 1133254 w 1625540"/>
                <a:gd name="connsiteY26" fmla="*/ 478100 h 2652050"/>
                <a:gd name="connsiteX27" fmla="*/ 1137528 w 1625540"/>
                <a:gd name="connsiteY27" fmla="*/ 478100 h 2652050"/>
                <a:gd name="connsiteX28" fmla="*/ 1217749 w 1625540"/>
                <a:gd name="connsiteY28" fmla="*/ 557747 h 2652050"/>
                <a:gd name="connsiteX29" fmla="*/ 1137528 w 1625540"/>
                <a:gd name="connsiteY29" fmla="*/ 644030 h 2652050"/>
                <a:gd name="connsiteX30" fmla="*/ 836889 w 1625540"/>
                <a:gd name="connsiteY30" fmla="*/ 644030 h 2652050"/>
                <a:gd name="connsiteX31" fmla="*/ 809959 w 1625540"/>
                <a:gd name="connsiteY31" fmla="*/ 644030 h 2652050"/>
                <a:gd name="connsiteX32" fmla="*/ 804945 w 1625540"/>
                <a:gd name="connsiteY32" fmla="*/ 644030 h 2652050"/>
                <a:gd name="connsiteX33" fmla="*/ 793037 w 1625540"/>
                <a:gd name="connsiteY33" fmla="*/ 644030 h 2652050"/>
                <a:gd name="connsiteX34" fmla="*/ 769848 w 1625540"/>
                <a:gd name="connsiteY34" fmla="*/ 644030 h 2652050"/>
                <a:gd name="connsiteX35" fmla="*/ 762640 w 1625540"/>
                <a:gd name="connsiteY35" fmla="*/ 644030 h 2652050"/>
                <a:gd name="connsiteX36" fmla="*/ 731618 w 1625540"/>
                <a:gd name="connsiteY36" fmla="*/ 644030 h 2652050"/>
                <a:gd name="connsiteX37" fmla="*/ 699789 w 1625540"/>
                <a:gd name="connsiteY37" fmla="*/ 644030 h 2652050"/>
                <a:gd name="connsiteX38" fmla="*/ 674585 w 1625540"/>
                <a:gd name="connsiteY38" fmla="*/ 644030 h 2652050"/>
                <a:gd name="connsiteX39" fmla="*/ 647387 w 1625540"/>
                <a:gd name="connsiteY39" fmla="*/ 644030 h 2652050"/>
                <a:gd name="connsiteX40" fmla="*/ 604484 w 1625540"/>
                <a:gd name="connsiteY40" fmla="*/ 644030 h 2652050"/>
                <a:gd name="connsiteX41" fmla="*/ 594990 w 1625540"/>
                <a:gd name="connsiteY41" fmla="*/ 644030 h 2652050"/>
                <a:gd name="connsiteX42" fmla="*/ 570130 w 1625540"/>
                <a:gd name="connsiteY42" fmla="*/ 644030 h 2652050"/>
                <a:gd name="connsiteX43" fmla="*/ 489073 w 1625540"/>
                <a:gd name="connsiteY43" fmla="*/ 644030 h 2652050"/>
                <a:gd name="connsiteX44" fmla="*/ 402167 w 1625540"/>
                <a:gd name="connsiteY44" fmla="*/ 557747 h 2652050"/>
                <a:gd name="connsiteX45" fmla="*/ 489073 w 1625540"/>
                <a:gd name="connsiteY45" fmla="*/ 478100 h 2652050"/>
                <a:gd name="connsiteX46" fmla="*/ 494087 w 1625540"/>
                <a:gd name="connsiteY46" fmla="*/ 478100 h 2652050"/>
                <a:gd name="connsiteX47" fmla="*/ 502031 w 1625540"/>
                <a:gd name="connsiteY47" fmla="*/ 478100 h 2652050"/>
                <a:gd name="connsiteX48" fmla="*/ 472597 w 1625540"/>
                <a:gd name="connsiteY48" fmla="*/ 472191 h 2652050"/>
                <a:gd name="connsiteX49" fmla="*/ 472281 w 1625540"/>
                <a:gd name="connsiteY49" fmla="*/ 471944 h 2652050"/>
                <a:gd name="connsiteX50" fmla="*/ 446946 w 1625540"/>
                <a:gd name="connsiteY50" fmla="*/ 455702 h 2652050"/>
                <a:gd name="connsiteX51" fmla="*/ 441015 w 1625540"/>
                <a:gd name="connsiteY51" fmla="*/ 447485 h 2652050"/>
                <a:gd name="connsiteX52" fmla="*/ 436653 w 1625540"/>
                <a:gd name="connsiteY52" fmla="*/ 444074 h 2652050"/>
                <a:gd name="connsiteX53" fmla="*/ 435104 w 1625540"/>
                <a:gd name="connsiteY53" fmla="*/ 439297 h 2652050"/>
                <a:gd name="connsiteX54" fmla="*/ 428754 w 1625540"/>
                <a:gd name="connsiteY54" fmla="*/ 430501 h 2652050"/>
                <a:gd name="connsiteX55" fmla="*/ 421853 w 1625540"/>
                <a:gd name="connsiteY55" fmla="*/ 398456 h 2652050"/>
                <a:gd name="connsiteX56" fmla="*/ 502041 w 1625540"/>
                <a:gd name="connsiteY56" fmla="*/ 312172 h 2652050"/>
                <a:gd name="connsiteX57" fmla="*/ 502151 w 1625540"/>
                <a:gd name="connsiteY57" fmla="*/ 312172 h 2652050"/>
                <a:gd name="connsiteX58" fmla="*/ 506961 w 1625540"/>
                <a:gd name="connsiteY58" fmla="*/ 312172 h 2652050"/>
                <a:gd name="connsiteX59" fmla="*/ 515117 w 1625540"/>
                <a:gd name="connsiteY59" fmla="*/ 312172 h 2652050"/>
                <a:gd name="connsiteX60" fmla="*/ 441540 w 1625540"/>
                <a:gd name="connsiteY60" fmla="*/ 232020 h 2652050"/>
                <a:gd name="connsiteX61" fmla="*/ 515117 w 1625540"/>
                <a:gd name="connsiteY61" fmla="*/ 151867 h 2652050"/>
                <a:gd name="connsiteX62" fmla="*/ 515224 w 1625540"/>
                <a:gd name="connsiteY62" fmla="*/ 151867 h 2652050"/>
                <a:gd name="connsiteX63" fmla="*/ 519829 w 1625540"/>
                <a:gd name="connsiteY63" fmla="*/ 151867 h 2652050"/>
                <a:gd name="connsiteX64" fmla="*/ 530767 w 1625540"/>
                <a:gd name="connsiteY64" fmla="*/ 151867 h 2652050"/>
                <a:gd name="connsiteX65" fmla="*/ 542785 w 1625540"/>
                <a:gd name="connsiteY65" fmla="*/ 151867 h 2652050"/>
                <a:gd name="connsiteX66" fmla="*/ 809438 w 1625540"/>
                <a:gd name="connsiteY66" fmla="*/ 0 h 265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25540" h="2652050">
                  <a:moveTo>
                    <a:pt x="581983" y="644031"/>
                  </a:moveTo>
                  <a:cubicBezTo>
                    <a:pt x="635499" y="644031"/>
                    <a:pt x="722462" y="644031"/>
                    <a:pt x="809425" y="644031"/>
                  </a:cubicBezTo>
                  <a:cubicBezTo>
                    <a:pt x="903078" y="644031"/>
                    <a:pt x="990041" y="644031"/>
                    <a:pt x="1043557" y="644031"/>
                  </a:cubicBezTo>
                  <a:cubicBezTo>
                    <a:pt x="1163967" y="644031"/>
                    <a:pt x="1204104" y="677387"/>
                    <a:pt x="1230862" y="844166"/>
                  </a:cubicBezTo>
                  <a:cubicBezTo>
                    <a:pt x="1264309" y="1037630"/>
                    <a:pt x="1317825" y="1077657"/>
                    <a:pt x="1511819" y="1437899"/>
                  </a:cubicBezTo>
                  <a:cubicBezTo>
                    <a:pt x="1578714" y="1557980"/>
                    <a:pt x="1625540" y="1691403"/>
                    <a:pt x="1625540" y="1838169"/>
                  </a:cubicBezTo>
                  <a:cubicBezTo>
                    <a:pt x="1625540" y="2285136"/>
                    <a:pt x="1257619" y="2652050"/>
                    <a:pt x="809425" y="2652050"/>
                  </a:cubicBezTo>
                  <a:cubicBezTo>
                    <a:pt x="361231" y="2652050"/>
                    <a:pt x="0" y="2285136"/>
                    <a:pt x="0" y="1838169"/>
                  </a:cubicBezTo>
                  <a:cubicBezTo>
                    <a:pt x="0" y="1691403"/>
                    <a:pt x="40137" y="1557980"/>
                    <a:pt x="107031" y="1437899"/>
                  </a:cubicBezTo>
                  <a:cubicBezTo>
                    <a:pt x="307715" y="1077657"/>
                    <a:pt x="361231" y="1037630"/>
                    <a:pt x="394678" y="844166"/>
                  </a:cubicBezTo>
                  <a:cubicBezTo>
                    <a:pt x="421436" y="684058"/>
                    <a:pt x="454884" y="644031"/>
                    <a:pt x="581983" y="644031"/>
                  </a:cubicBezTo>
                  <a:close/>
                  <a:moveTo>
                    <a:pt x="809438" y="0"/>
                  </a:moveTo>
                  <a:lnTo>
                    <a:pt x="809700" y="29"/>
                  </a:lnTo>
                  <a:lnTo>
                    <a:pt x="809959" y="0"/>
                  </a:lnTo>
                  <a:lnTo>
                    <a:pt x="809959" y="58"/>
                  </a:lnTo>
                  <a:lnTo>
                    <a:pt x="905579" y="10730"/>
                  </a:lnTo>
                  <a:cubicBezTo>
                    <a:pt x="1000261" y="31777"/>
                    <a:pt x="1082757" y="82537"/>
                    <a:pt x="1082757" y="151867"/>
                  </a:cubicBezTo>
                  <a:lnTo>
                    <a:pt x="1097180" y="151867"/>
                  </a:lnTo>
                  <a:cubicBezTo>
                    <a:pt x="1110424" y="151867"/>
                    <a:pt x="1110424" y="151867"/>
                    <a:pt x="1110424" y="151867"/>
                  </a:cubicBezTo>
                  <a:cubicBezTo>
                    <a:pt x="1150557" y="151867"/>
                    <a:pt x="1184001" y="185264"/>
                    <a:pt x="1184001" y="232020"/>
                  </a:cubicBezTo>
                  <a:cubicBezTo>
                    <a:pt x="1184001" y="278775"/>
                    <a:pt x="1150557" y="312172"/>
                    <a:pt x="1110424" y="312172"/>
                  </a:cubicBezTo>
                  <a:lnTo>
                    <a:pt x="1119402" y="312172"/>
                  </a:lnTo>
                  <a:cubicBezTo>
                    <a:pt x="1123499" y="312172"/>
                    <a:pt x="1123499" y="312172"/>
                    <a:pt x="1123499" y="312172"/>
                  </a:cubicBezTo>
                  <a:cubicBezTo>
                    <a:pt x="1163593" y="312172"/>
                    <a:pt x="1203687" y="351995"/>
                    <a:pt x="1203687" y="398456"/>
                  </a:cubicBezTo>
                  <a:cubicBezTo>
                    <a:pt x="1203687" y="433301"/>
                    <a:pt x="1181134" y="460679"/>
                    <a:pt x="1152943" y="472191"/>
                  </a:cubicBezTo>
                  <a:lnTo>
                    <a:pt x="1123509" y="478100"/>
                  </a:lnTo>
                  <a:lnTo>
                    <a:pt x="1133254" y="478100"/>
                  </a:lnTo>
                  <a:cubicBezTo>
                    <a:pt x="1137528" y="478100"/>
                    <a:pt x="1137528" y="478100"/>
                    <a:pt x="1137528" y="478100"/>
                  </a:cubicBezTo>
                  <a:cubicBezTo>
                    <a:pt x="1184323" y="478100"/>
                    <a:pt x="1217749" y="517923"/>
                    <a:pt x="1217749" y="557747"/>
                  </a:cubicBezTo>
                  <a:cubicBezTo>
                    <a:pt x="1217749" y="604207"/>
                    <a:pt x="1184323" y="644030"/>
                    <a:pt x="1137528" y="644030"/>
                  </a:cubicBezTo>
                  <a:cubicBezTo>
                    <a:pt x="1015943" y="644030"/>
                    <a:pt x="917155" y="644030"/>
                    <a:pt x="836889" y="644030"/>
                  </a:cubicBezTo>
                  <a:lnTo>
                    <a:pt x="809959" y="644030"/>
                  </a:lnTo>
                  <a:lnTo>
                    <a:pt x="804945" y="644030"/>
                  </a:lnTo>
                  <a:lnTo>
                    <a:pt x="793037" y="644030"/>
                  </a:lnTo>
                  <a:lnTo>
                    <a:pt x="769848" y="644030"/>
                  </a:lnTo>
                  <a:lnTo>
                    <a:pt x="762640" y="644030"/>
                  </a:lnTo>
                  <a:lnTo>
                    <a:pt x="731618" y="644030"/>
                  </a:lnTo>
                  <a:lnTo>
                    <a:pt x="699789" y="644030"/>
                  </a:lnTo>
                  <a:lnTo>
                    <a:pt x="674585" y="644030"/>
                  </a:lnTo>
                  <a:lnTo>
                    <a:pt x="647387" y="644030"/>
                  </a:lnTo>
                  <a:cubicBezTo>
                    <a:pt x="631556" y="644030"/>
                    <a:pt x="617308" y="644030"/>
                    <a:pt x="604484" y="644030"/>
                  </a:cubicBezTo>
                  <a:lnTo>
                    <a:pt x="594990" y="644030"/>
                  </a:lnTo>
                  <a:lnTo>
                    <a:pt x="570130" y="644030"/>
                  </a:lnTo>
                  <a:cubicBezTo>
                    <a:pt x="489073" y="644030"/>
                    <a:pt x="489073" y="644030"/>
                    <a:pt x="489073" y="644030"/>
                  </a:cubicBezTo>
                  <a:cubicBezTo>
                    <a:pt x="442278" y="644030"/>
                    <a:pt x="402167" y="604207"/>
                    <a:pt x="402167" y="557747"/>
                  </a:cubicBezTo>
                  <a:cubicBezTo>
                    <a:pt x="402167" y="517923"/>
                    <a:pt x="442278" y="478100"/>
                    <a:pt x="489073" y="478100"/>
                  </a:cubicBezTo>
                  <a:lnTo>
                    <a:pt x="494087" y="478100"/>
                  </a:lnTo>
                  <a:lnTo>
                    <a:pt x="502031" y="478100"/>
                  </a:lnTo>
                  <a:lnTo>
                    <a:pt x="472597" y="472191"/>
                  </a:lnTo>
                  <a:lnTo>
                    <a:pt x="472281" y="471944"/>
                  </a:lnTo>
                  <a:lnTo>
                    <a:pt x="446946" y="455702"/>
                  </a:lnTo>
                  <a:lnTo>
                    <a:pt x="441015" y="447485"/>
                  </a:lnTo>
                  <a:lnTo>
                    <a:pt x="436653" y="444074"/>
                  </a:lnTo>
                  <a:lnTo>
                    <a:pt x="435104" y="439297"/>
                  </a:lnTo>
                  <a:lnTo>
                    <a:pt x="428754" y="430501"/>
                  </a:lnTo>
                  <a:cubicBezTo>
                    <a:pt x="424362" y="420856"/>
                    <a:pt x="421853" y="410071"/>
                    <a:pt x="421853" y="398456"/>
                  </a:cubicBezTo>
                  <a:cubicBezTo>
                    <a:pt x="421853" y="351995"/>
                    <a:pt x="461947" y="312172"/>
                    <a:pt x="502041" y="312172"/>
                  </a:cubicBezTo>
                  <a:lnTo>
                    <a:pt x="502151" y="312172"/>
                  </a:lnTo>
                  <a:lnTo>
                    <a:pt x="506961" y="312172"/>
                  </a:lnTo>
                  <a:lnTo>
                    <a:pt x="515117" y="312172"/>
                  </a:lnTo>
                  <a:cubicBezTo>
                    <a:pt x="474984" y="312172"/>
                    <a:pt x="441540" y="278775"/>
                    <a:pt x="441540" y="232020"/>
                  </a:cubicBezTo>
                  <a:cubicBezTo>
                    <a:pt x="441540" y="185264"/>
                    <a:pt x="474984" y="151867"/>
                    <a:pt x="515117" y="151867"/>
                  </a:cubicBezTo>
                  <a:lnTo>
                    <a:pt x="515224" y="151867"/>
                  </a:lnTo>
                  <a:lnTo>
                    <a:pt x="519829" y="151867"/>
                  </a:lnTo>
                  <a:lnTo>
                    <a:pt x="530767" y="151867"/>
                  </a:lnTo>
                  <a:lnTo>
                    <a:pt x="542785" y="151867"/>
                  </a:lnTo>
                  <a:cubicBezTo>
                    <a:pt x="542785" y="59426"/>
                    <a:pt x="682778" y="0"/>
                    <a:pt x="809438" y="0"/>
                  </a:cubicBezTo>
                  <a:close/>
                </a:path>
              </a:pathLst>
            </a:custGeom>
            <a:solidFill>
              <a:srgbClr val="FFC0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spTree>
    <p:extLst>
      <p:ext uri="{BB962C8B-B14F-4D97-AF65-F5344CB8AC3E}">
        <p14:creationId xmlns:p14="http://schemas.microsoft.com/office/powerpoint/2010/main" val="23815048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60739" y="394412"/>
            <a:ext cx="5887809" cy="5509200"/>
          </a:xfrm>
          <a:prstGeom prst="rect">
            <a:avLst/>
          </a:prstGeom>
        </p:spPr>
        <p:txBody>
          <a:bodyPr wrap="square">
            <a:spAutoFit/>
          </a:bodyPr>
          <a:lstStyle/>
          <a:p>
            <a:pPr lvl="1">
              <a:lnSpc>
                <a:spcPct val="200000"/>
              </a:lnSpc>
            </a:pPr>
            <a:r>
              <a:rPr lang="en-US" sz="2400" dirty="0">
                <a:solidFill>
                  <a:srgbClr val="20428F"/>
                </a:solidFill>
              </a:rPr>
              <a:t>Availability </a:t>
            </a:r>
            <a:r>
              <a:rPr lang="en-US" sz="2400" dirty="0" smtClean="0">
                <a:solidFill>
                  <a:srgbClr val="20428F"/>
                </a:solidFill>
              </a:rPr>
              <a:t>Zones:</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Every region consists of two or more cluster of datacenters called “Availability Zones”</a:t>
            </a:r>
          </a:p>
          <a:p>
            <a:pPr marL="742950" lvl="1" indent="-285750">
              <a:lnSpc>
                <a:spcPct val="150000"/>
              </a:lnSpc>
              <a:buFont typeface="Arial" panose="020B0604020202020204" pitchFamily="34" charset="0"/>
              <a:buChar char="•"/>
            </a:pPr>
            <a:r>
              <a:rPr lang="en-US" sz="1600" dirty="0" smtClean="0">
                <a:solidFill>
                  <a:schemeClr val="tx1">
                    <a:lumMod val="65000"/>
                    <a:lumOff val="35000"/>
                  </a:schemeClr>
                </a:solidFill>
              </a:rPr>
              <a:t>Every </a:t>
            </a:r>
            <a:r>
              <a:rPr lang="en-US" sz="1600" dirty="0">
                <a:solidFill>
                  <a:schemeClr val="tx1">
                    <a:lumMod val="65000"/>
                    <a:lumOff val="35000"/>
                  </a:schemeClr>
                </a:solidFill>
              </a:rPr>
              <a:t>Availability </a:t>
            </a:r>
            <a:r>
              <a:rPr lang="en-US" sz="1600" dirty="0" smtClean="0">
                <a:solidFill>
                  <a:schemeClr val="tx1">
                    <a:lumMod val="65000"/>
                    <a:lumOff val="35000"/>
                  </a:schemeClr>
                </a:solidFill>
              </a:rPr>
              <a:t>Zone has a corresponding code which consists of region code followed by alphabets</a:t>
            </a:r>
          </a:p>
          <a:p>
            <a:pPr marL="1200150" lvl="2" indent="-285750">
              <a:lnSpc>
                <a:spcPct val="150000"/>
              </a:lnSpc>
              <a:buFont typeface="Wingdings" panose="05000000000000000000" pitchFamily="2" charset="2"/>
              <a:buChar char="§"/>
            </a:pPr>
            <a:r>
              <a:rPr lang="en-US" sz="1600" dirty="0" smtClean="0">
                <a:solidFill>
                  <a:schemeClr val="tx1">
                    <a:lumMod val="65000"/>
                    <a:lumOff val="35000"/>
                  </a:schemeClr>
                </a:solidFill>
              </a:rPr>
              <a:t>US West (Oregon) four availability zones:</a:t>
            </a:r>
            <a:r>
              <a:rPr lang="en-US" sz="1600" dirty="0">
                <a:solidFill>
                  <a:schemeClr val="tx1">
                    <a:lumMod val="65000"/>
                    <a:lumOff val="35000"/>
                  </a:schemeClr>
                </a:solidFill>
              </a:rPr>
              <a:t>	</a:t>
            </a:r>
            <a:r>
              <a:rPr lang="en-US" sz="1600" dirty="0" smtClean="0">
                <a:solidFill>
                  <a:schemeClr val="tx1">
                    <a:lumMod val="65000"/>
                    <a:lumOff val="35000"/>
                  </a:schemeClr>
                </a:solidFill>
              </a:rPr>
              <a:t>  </a:t>
            </a:r>
          </a:p>
          <a:p>
            <a:pPr marL="1657350" lvl="3" indent="-285750">
              <a:lnSpc>
                <a:spcPct val="150000"/>
              </a:lnSpc>
              <a:buFont typeface="Wingdings" panose="05000000000000000000" pitchFamily="2" charset="2"/>
              <a:buChar char="§"/>
            </a:pPr>
            <a:r>
              <a:rPr lang="en-US" sz="1600" dirty="0" smtClean="0">
                <a:solidFill>
                  <a:schemeClr val="tx1">
                    <a:lumMod val="65000"/>
                    <a:lumOff val="35000"/>
                  </a:schemeClr>
                </a:solidFill>
              </a:rPr>
              <a:t>Region code: 	</a:t>
            </a:r>
            <a:r>
              <a:rPr lang="en-US" sz="1600" dirty="0" smtClean="0">
                <a:solidFill>
                  <a:srgbClr val="20428F"/>
                </a:solidFill>
              </a:rPr>
              <a:t>us-west-2</a:t>
            </a:r>
            <a:endParaRPr lang="en-US" sz="1600" dirty="0">
              <a:solidFill>
                <a:srgbClr val="20428F"/>
              </a:solidFill>
            </a:endParaRPr>
          </a:p>
          <a:p>
            <a:pPr marL="1657350" lvl="3" indent="-285750">
              <a:lnSpc>
                <a:spcPct val="200000"/>
              </a:lnSpc>
              <a:buFont typeface="Wingdings" panose="05000000000000000000" pitchFamily="2" charset="2"/>
              <a:buChar char="§"/>
            </a:pPr>
            <a:r>
              <a:rPr lang="en-US" sz="1600" dirty="0" smtClean="0">
                <a:solidFill>
                  <a:schemeClr val="tx1">
                    <a:lumMod val="65000"/>
                    <a:lumOff val="35000"/>
                  </a:schemeClr>
                </a:solidFill>
              </a:rPr>
              <a:t>Availability zone 1: 	</a:t>
            </a:r>
            <a:r>
              <a:rPr lang="en-US" sz="1600" dirty="0">
                <a:solidFill>
                  <a:srgbClr val="20428F"/>
                </a:solidFill>
              </a:rPr>
              <a:t>us-west-2a</a:t>
            </a:r>
            <a:r>
              <a:rPr lang="en-US" sz="1600" dirty="0" smtClean="0">
                <a:solidFill>
                  <a:schemeClr val="tx1">
                    <a:lumMod val="65000"/>
                    <a:lumOff val="35000"/>
                  </a:schemeClr>
                </a:solidFill>
              </a:rPr>
              <a:t>  </a:t>
            </a:r>
            <a:endParaRPr lang="en-US" sz="1600" dirty="0">
              <a:solidFill>
                <a:schemeClr val="tx1">
                  <a:lumMod val="65000"/>
                  <a:lumOff val="35000"/>
                </a:schemeClr>
              </a:solidFill>
            </a:endParaRPr>
          </a:p>
          <a:p>
            <a:pPr marL="1657350" lvl="3" indent="-285750">
              <a:lnSpc>
                <a:spcPct val="200000"/>
              </a:lnSpc>
              <a:buFont typeface="Wingdings" panose="05000000000000000000" pitchFamily="2" charset="2"/>
              <a:buChar char="§"/>
            </a:pPr>
            <a:r>
              <a:rPr lang="en-US" sz="1600" dirty="0">
                <a:solidFill>
                  <a:schemeClr val="tx1">
                    <a:lumMod val="65000"/>
                    <a:lumOff val="35000"/>
                  </a:schemeClr>
                </a:solidFill>
              </a:rPr>
              <a:t>Availability zone 1: </a:t>
            </a:r>
            <a:r>
              <a:rPr lang="en-US" sz="1600" dirty="0" smtClean="0">
                <a:solidFill>
                  <a:schemeClr val="tx1">
                    <a:lumMod val="65000"/>
                    <a:lumOff val="35000"/>
                  </a:schemeClr>
                </a:solidFill>
              </a:rPr>
              <a:t> 	</a:t>
            </a:r>
            <a:r>
              <a:rPr lang="en-US" sz="1600" dirty="0">
                <a:solidFill>
                  <a:srgbClr val="20428F"/>
                </a:solidFill>
              </a:rPr>
              <a:t>us-west-2b</a:t>
            </a:r>
          </a:p>
          <a:p>
            <a:pPr marL="1657350" lvl="3" indent="-285750">
              <a:lnSpc>
                <a:spcPct val="200000"/>
              </a:lnSpc>
              <a:buFont typeface="Wingdings" panose="05000000000000000000" pitchFamily="2" charset="2"/>
              <a:buChar char="§"/>
            </a:pPr>
            <a:r>
              <a:rPr lang="en-US" sz="1600" dirty="0">
                <a:solidFill>
                  <a:schemeClr val="tx1">
                    <a:lumMod val="65000"/>
                    <a:lumOff val="35000"/>
                  </a:schemeClr>
                </a:solidFill>
              </a:rPr>
              <a:t>Availability zone 1: </a:t>
            </a:r>
            <a:r>
              <a:rPr lang="en-US" sz="1600" dirty="0" smtClean="0">
                <a:solidFill>
                  <a:schemeClr val="tx1">
                    <a:lumMod val="65000"/>
                    <a:lumOff val="35000"/>
                  </a:schemeClr>
                </a:solidFill>
              </a:rPr>
              <a:t>	</a:t>
            </a:r>
            <a:r>
              <a:rPr lang="en-US" sz="1600" dirty="0">
                <a:solidFill>
                  <a:srgbClr val="20428F"/>
                </a:solidFill>
              </a:rPr>
              <a:t>us-west-2c</a:t>
            </a:r>
          </a:p>
          <a:p>
            <a:pPr marL="1657350" lvl="3" indent="-285750">
              <a:lnSpc>
                <a:spcPct val="200000"/>
              </a:lnSpc>
              <a:buFont typeface="Wingdings" panose="05000000000000000000" pitchFamily="2" charset="2"/>
              <a:buChar char="§"/>
            </a:pPr>
            <a:r>
              <a:rPr lang="en-US" sz="1600" dirty="0">
                <a:solidFill>
                  <a:schemeClr val="tx1">
                    <a:lumMod val="65000"/>
                    <a:lumOff val="35000"/>
                  </a:schemeClr>
                </a:solidFill>
              </a:rPr>
              <a:t>Availability zone 1: </a:t>
            </a:r>
            <a:r>
              <a:rPr lang="en-US" sz="1600" dirty="0" smtClean="0">
                <a:solidFill>
                  <a:schemeClr val="tx1">
                    <a:lumMod val="65000"/>
                    <a:lumOff val="35000"/>
                  </a:schemeClr>
                </a:solidFill>
              </a:rPr>
              <a:t>	</a:t>
            </a:r>
            <a:r>
              <a:rPr lang="en-US" sz="1600" dirty="0">
                <a:solidFill>
                  <a:srgbClr val="20428F"/>
                </a:solidFill>
              </a:rPr>
              <a:t>us-west-2d</a:t>
            </a:r>
          </a:p>
          <a:p>
            <a:pPr lvl="1">
              <a:lnSpc>
                <a:spcPct val="200000"/>
              </a:lnSpc>
            </a:pPr>
            <a:endParaRPr lang="en-US" sz="1600" dirty="0">
              <a:solidFill>
                <a:schemeClr val="tx1">
                  <a:lumMod val="65000"/>
                  <a:lumOff val="35000"/>
                </a:schemeClr>
              </a:solidFill>
            </a:endParaRPr>
          </a:p>
        </p:txBody>
      </p:sp>
      <p:pic>
        <p:nvPicPr>
          <p:cNvPr id="6150" name="Picture 6" descr="AWS global infrastructure, region table, data center location, availabilit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7555" y="1005434"/>
            <a:ext cx="4937533" cy="455934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961606" y="6242447"/>
            <a:ext cx="8303622" cy="615553"/>
          </a:xfrm>
          <a:prstGeom prst="rect">
            <a:avLst/>
          </a:prstGeom>
        </p:spPr>
        <p:txBody>
          <a:bodyPr wrap="square">
            <a:spAutoFit/>
          </a:bodyPr>
          <a:lstStyle/>
          <a:p>
            <a:r>
              <a:rPr lang="en-US" sz="1600" dirty="0">
                <a:hlinkClick r:id="rId3"/>
              </a:rPr>
              <a:t>https://</a:t>
            </a:r>
            <a:r>
              <a:rPr lang="en-US" sz="1600" dirty="0" smtClean="0">
                <a:hlinkClick r:id="rId3"/>
              </a:rPr>
              <a:t>docs.aws.amazon.com/AWSEC2/latest/UserGuide/using-regions-availability-zones.html</a:t>
            </a:r>
            <a:endParaRPr lang="en-US" sz="1600" dirty="0" smtClean="0"/>
          </a:p>
          <a:p>
            <a:endParaRPr lang="en-US" dirty="0"/>
          </a:p>
        </p:txBody>
      </p:sp>
    </p:spTree>
    <p:extLst>
      <p:ext uri="{BB962C8B-B14F-4D97-AF65-F5344CB8AC3E}">
        <p14:creationId xmlns:p14="http://schemas.microsoft.com/office/powerpoint/2010/main" val="30253337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961606" y="6242447"/>
            <a:ext cx="8303622" cy="615553"/>
          </a:xfrm>
          <a:prstGeom prst="rect">
            <a:avLst/>
          </a:prstGeom>
        </p:spPr>
        <p:txBody>
          <a:bodyPr wrap="square">
            <a:spAutoFit/>
          </a:bodyPr>
          <a:lstStyle/>
          <a:p>
            <a:r>
              <a:rPr lang="en-US" sz="1600" dirty="0">
                <a:hlinkClick r:id="rId2"/>
              </a:rPr>
              <a:t>https://</a:t>
            </a:r>
            <a:r>
              <a:rPr lang="en-US" sz="1600" dirty="0" smtClean="0">
                <a:hlinkClick r:id="rId2"/>
              </a:rPr>
              <a:t>docs.aws.amazon.com/AWSEC2/latest/UserGuide/using-regions-availability-zones.html</a:t>
            </a:r>
            <a:endParaRPr lang="en-US" sz="1600" dirty="0" smtClean="0"/>
          </a:p>
          <a:p>
            <a:endParaRPr lang="en-US" dirty="0"/>
          </a:p>
        </p:txBody>
      </p:sp>
      <p:sp>
        <p:nvSpPr>
          <p:cNvPr id="3" name="Rectangle 2"/>
          <p:cNvSpPr/>
          <p:nvPr/>
        </p:nvSpPr>
        <p:spPr>
          <a:xfrm>
            <a:off x="707009" y="1305342"/>
            <a:ext cx="10699423" cy="3416320"/>
          </a:xfrm>
          <a:prstGeom prst="rect">
            <a:avLst/>
          </a:prstGeom>
        </p:spPr>
        <p:txBody>
          <a:bodyPr wrap="square">
            <a:spAutoFit/>
          </a:bodyPr>
          <a:lstStyle/>
          <a:p>
            <a:r>
              <a:rPr lang="en-US" dirty="0">
                <a:solidFill>
                  <a:srgbClr val="16191F"/>
                </a:solidFill>
                <a:latin typeface="Amazon Ember"/>
              </a:rPr>
              <a:t>Amazon ECS supports workloads that take advantage of Local Zones, Wavelength Zones and AWS Outposts when low latency or local data processing requirements are needed</a:t>
            </a:r>
            <a:r>
              <a:rPr lang="en-US" dirty="0" smtClean="0">
                <a:solidFill>
                  <a:srgbClr val="16191F"/>
                </a:solidFill>
                <a:latin typeface="Amazon Ember"/>
              </a:rPr>
              <a:t>.</a:t>
            </a:r>
          </a:p>
          <a:p>
            <a:endParaRPr lang="en-US" dirty="0">
              <a:solidFill>
                <a:srgbClr val="16191F"/>
              </a:solidFill>
              <a:latin typeface="Amazon Ember"/>
            </a:endParaRPr>
          </a:p>
          <a:p>
            <a:pPr>
              <a:buFont typeface="Arial" panose="020B0604020202020204" pitchFamily="34" charset="0"/>
              <a:buChar char="•"/>
            </a:pPr>
            <a:r>
              <a:rPr lang="en-US" dirty="0" smtClean="0">
                <a:solidFill>
                  <a:srgbClr val="16191F"/>
                </a:solidFill>
                <a:latin typeface="inherit"/>
              </a:rPr>
              <a:t> Local </a:t>
            </a:r>
            <a:r>
              <a:rPr lang="en-US" dirty="0">
                <a:solidFill>
                  <a:srgbClr val="16191F"/>
                </a:solidFill>
                <a:latin typeface="inherit"/>
              </a:rPr>
              <a:t>Zones are an extension of an AWS Region that provide you the ability to place resources in multiple locations closer to your end users</a:t>
            </a:r>
            <a:r>
              <a:rPr lang="en-US" dirty="0" smtClean="0">
                <a:solidFill>
                  <a:srgbClr val="16191F"/>
                </a:solidFill>
                <a:latin typeface="inherit"/>
              </a:rPr>
              <a:t>.</a:t>
            </a:r>
          </a:p>
          <a:p>
            <a:pPr>
              <a:buFont typeface="Arial" panose="020B0604020202020204" pitchFamily="34" charset="0"/>
              <a:buChar char="•"/>
            </a:pPr>
            <a:endParaRPr lang="en-US" dirty="0">
              <a:solidFill>
                <a:srgbClr val="16191F"/>
              </a:solidFill>
              <a:latin typeface="inherit"/>
            </a:endParaRPr>
          </a:p>
          <a:p>
            <a:pPr>
              <a:buFont typeface="Arial" panose="020B0604020202020204" pitchFamily="34" charset="0"/>
              <a:buChar char="•"/>
            </a:pPr>
            <a:r>
              <a:rPr lang="en-US" dirty="0" smtClean="0">
                <a:solidFill>
                  <a:srgbClr val="16191F"/>
                </a:solidFill>
                <a:latin typeface="inherit"/>
              </a:rPr>
              <a:t> Wavelength </a:t>
            </a:r>
            <a:r>
              <a:rPr lang="en-US" dirty="0">
                <a:solidFill>
                  <a:srgbClr val="16191F"/>
                </a:solidFill>
                <a:latin typeface="inherit"/>
              </a:rPr>
              <a:t>Zones allow developers to build applications that deliver ultra-low latencies to 5G devices and end users. Wavelength deploys standard AWS compute and storage services to the edge of telecommunication carriers' 5G networks</a:t>
            </a:r>
            <a:r>
              <a:rPr lang="en-US" dirty="0" smtClean="0">
                <a:solidFill>
                  <a:srgbClr val="16191F"/>
                </a:solidFill>
                <a:latin typeface="inherit"/>
              </a:rPr>
              <a:t>.</a:t>
            </a:r>
          </a:p>
          <a:p>
            <a:pPr>
              <a:buFont typeface="Arial" panose="020B0604020202020204" pitchFamily="34" charset="0"/>
              <a:buChar char="•"/>
            </a:pPr>
            <a:endParaRPr lang="en-US" dirty="0">
              <a:solidFill>
                <a:srgbClr val="16191F"/>
              </a:solidFill>
              <a:latin typeface="inherit"/>
            </a:endParaRPr>
          </a:p>
          <a:p>
            <a:pPr>
              <a:buFont typeface="Arial" panose="020B0604020202020204" pitchFamily="34" charset="0"/>
              <a:buChar char="•"/>
            </a:pPr>
            <a:r>
              <a:rPr lang="en-US" dirty="0" smtClean="0">
                <a:solidFill>
                  <a:srgbClr val="16191F"/>
                </a:solidFill>
                <a:latin typeface="inherit"/>
              </a:rPr>
              <a:t> AWS </a:t>
            </a:r>
            <a:r>
              <a:rPr lang="en-US" dirty="0">
                <a:solidFill>
                  <a:srgbClr val="16191F"/>
                </a:solidFill>
                <a:latin typeface="inherit"/>
              </a:rPr>
              <a:t>Outposts brings native AWS services, infrastructure, and operating models to virtually any data center, co-location space, or on-premises facility.</a:t>
            </a:r>
            <a:endParaRPr lang="en-US" b="0" i="0" u="none" strike="noStrike" dirty="0">
              <a:solidFill>
                <a:srgbClr val="16191F"/>
              </a:solidFill>
              <a:effectLst/>
              <a:latin typeface="inherit"/>
            </a:endParaRPr>
          </a:p>
        </p:txBody>
      </p:sp>
    </p:spTree>
    <p:extLst>
      <p:ext uri="{BB962C8B-B14F-4D97-AF65-F5344CB8AC3E}">
        <p14:creationId xmlns:p14="http://schemas.microsoft.com/office/powerpoint/2010/main" val="28499969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76"/>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47310"/>
          <a:stretch/>
        </p:blipFill>
        <p:spPr>
          <a:xfrm rot="10800000">
            <a:off x="6892212" y="3877866"/>
            <a:ext cx="5299788" cy="2980133"/>
          </a:xfrm>
          <a:prstGeom prst="rect">
            <a:avLst/>
          </a:prstGeom>
        </p:spPr>
      </p:pic>
      <p:grpSp>
        <p:nvGrpSpPr>
          <p:cNvPr id="22" name="Group 21"/>
          <p:cNvGrpSpPr/>
          <p:nvPr/>
        </p:nvGrpSpPr>
        <p:grpSpPr>
          <a:xfrm>
            <a:off x="2989783" y="6568832"/>
            <a:ext cx="6212434" cy="276999"/>
            <a:chOff x="2906112" y="6568832"/>
            <a:chExt cx="6212434" cy="276999"/>
          </a:xfrm>
        </p:grpSpPr>
        <p:grpSp>
          <p:nvGrpSpPr>
            <p:cNvPr id="17" name="Group 16"/>
            <p:cNvGrpSpPr/>
            <p:nvPr/>
          </p:nvGrpSpPr>
          <p:grpSpPr>
            <a:xfrm>
              <a:off x="2906112" y="6568832"/>
              <a:ext cx="1736820" cy="276999"/>
              <a:chOff x="2906112" y="6568832"/>
              <a:chExt cx="1736820" cy="276999"/>
            </a:xfrm>
          </p:grpSpPr>
          <p:sp>
            <p:nvSpPr>
              <p:cNvPr id="5" name="Rectangle 4"/>
              <p:cNvSpPr/>
              <p:nvPr/>
            </p:nvSpPr>
            <p:spPr>
              <a:xfrm>
                <a:off x="2919640" y="6568832"/>
                <a:ext cx="1723292" cy="276999"/>
              </a:xfrm>
              <a:prstGeom prst="rect">
                <a:avLst/>
              </a:prstGeom>
            </p:spPr>
            <p:txBody>
              <a:bodyPr wrap="none">
                <a:spAutoFit/>
              </a:bodyPr>
              <a:lstStyle/>
              <a:p>
                <a:pPr lvl="0"/>
                <a:r>
                  <a:rPr lang="en-US" sz="1200" dirty="0">
                    <a:solidFill>
                      <a:schemeClr val="bg1"/>
                    </a:solidFill>
                  </a:rPr>
                  <a:t>/company/</a:t>
                </a:r>
                <a:r>
                  <a:rPr lang="en-US" sz="1200" dirty="0" err="1">
                    <a:solidFill>
                      <a:schemeClr val="bg1"/>
                    </a:solidFill>
                  </a:rPr>
                  <a:t>tpsworldwide</a:t>
                </a:r>
                <a:endParaRPr lang="en-US" sz="1200" dirty="0">
                  <a:solidFill>
                    <a:schemeClr val="bg1"/>
                  </a:solidFill>
                </a:endParaRPr>
              </a:p>
            </p:txBody>
          </p:sp>
          <p:sp>
            <p:nvSpPr>
              <p:cNvPr id="9" name="Freeform 130"/>
              <p:cNvSpPr>
                <a:spLocks/>
              </p:cNvSpPr>
              <p:nvPr/>
            </p:nvSpPr>
            <p:spPr bwMode="auto">
              <a:xfrm>
                <a:off x="2906112" y="6648704"/>
                <a:ext cx="63359" cy="126717"/>
              </a:xfrm>
              <a:custGeom>
                <a:avLst/>
                <a:gdLst>
                  <a:gd name="T0" fmla="*/ 40 w 60"/>
                  <a:gd name="T1" fmla="*/ 40 h 120"/>
                  <a:gd name="T2" fmla="*/ 40 w 60"/>
                  <a:gd name="T3" fmla="*/ 28 h 120"/>
                  <a:gd name="T4" fmla="*/ 50 w 60"/>
                  <a:gd name="T5" fmla="*/ 20 h 120"/>
                  <a:gd name="T6" fmla="*/ 60 w 60"/>
                  <a:gd name="T7" fmla="*/ 20 h 120"/>
                  <a:gd name="T8" fmla="*/ 60 w 60"/>
                  <a:gd name="T9" fmla="*/ 0 h 120"/>
                  <a:gd name="T10" fmla="*/ 44 w 60"/>
                  <a:gd name="T11" fmla="*/ 0 h 120"/>
                  <a:gd name="T12" fmla="*/ 16 w 60"/>
                  <a:gd name="T13" fmla="*/ 28 h 120"/>
                  <a:gd name="T14" fmla="*/ 16 w 60"/>
                  <a:gd name="T15" fmla="*/ 40 h 120"/>
                  <a:gd name="T16" fmla="*/ 0 w 60"/>
                  <a:gd name="T17" fmla="*/ 40 h 120"/>
                  <a:gd name="T18" fmla="*/ 0 w 60"/>
                  <a:gd name="T19" fmla="*/ 60 h 120"/>
                  <a:gd name="T20" fmla="*/ 16 w 60"/>
                  <a:gd name="T21" fmla="*/ 60 h 120"/>
                  <a:gd name="T22" fmla="*/ 16 w 60"/>
                  <a:gd name="T23" fmla="*/ 120 h 120"/>
                  <a:gd name="T24" fmla="*/ 40 w 60"/>
                  <a:gd name="T25" fmla="*/ 120 h 120"/>
                  <a:gd name="T26" fmla="*/ 40 w 60"/>
                  <a:gd name="T27" fmla="*/ 60 h 120"/>
                  <a:gd name="T28" fmla="*/ 58 w 60"/>
                  <a:gd name="T29" fmla="*/ 60 h 120"/>
                  <a:gd name="T30" fmla="*/ 60 w 60"/>
                  <a:gd name="T31" fmla="*/ 40 h 120"/>
                  <a:gd name="T32" fmla="*/ 40 w 60"/>
                  <a:gd name="T3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0">
                    <a:moveTo>
                      <a:pt x="40" y="40"/>
                    </a:moveTo>
                    <a:cubicBezTo>
                      <a:pt x="40" y="28"/>
                      <a:pt x="40" y="28"/>
                      <a:pt x="40" y="28"/>
                    </a:cubicBezTo>
                    <a:cubicBezTo>
                      <a:pt x="40" y="23"/>
                      <a:pt x="41" y="20"/>
                      <a:pt x="50" y="20"/>
                    </a:cubicBezTo>
                    <a:cubicBezTo>
                      <a:pt x="60" y="20"/>
                      <a:pt x="60" y="20"/>
                      <a:pt x="60" y="20"/>
                    </a:cubicBezTo>
                    <a:cubicBezTo>
                      <a:pt x="60" y="0"/>
                      <a:pt x="60" y="0"/>
                      <a:pt x="60" y="0"/>
                    </a:cubicBezTo>
                    <a:cubicBezTo>
                      <a:pt x="44" y="0"/>
                      <a:pt x="44" y="0"/>
                      <a:pt x="44" y="0"/>
                    </a:cubicBezTo>
                    <a:cubicBezTo>
                      <a:pt x="24" y="0"/>
                      <a:pt x="16" y="13"/>
                      <a:pt x="16" y="28"/>
                    </a:cubicBezTo>
                    <a:cubicBezTo>
                      <a:pt x="16" y="40"/>
                      <a:pt x="16" y="40"/>
                      <a:pt x="16" y="40"/>
                    </a:cubicBezTo>
                    <a:cubicBezTo>
                      <a:pt x="0" y="40"/>
                      <a:pt x="0" y="40"/>
                      <a:pt x="0" y="40"/>
                    </a:cubicBezTo>
                    <a:cubicBezTo>
                      <a:pt x="0" y="60"/>
                      <a:pt x="0" y="60"/>
                      <a:pt x="0" y="60"/>
                    </a:cubicBezTo>
                    <a:cubicBezTo>
                      <a:pt x="16" y="60"/>
                      <a:pt x="16" y="60"/>
                      <a:pt x="16" y="60"/>
                    </a:cubicBezTo>
                    <a:cubicBezTo>
                      <a:pt x="16" y="120"/>
                      <a:pt x="16" y="120"/>
                      <a:pt x="16" y="120"/>
                    </a:cubicBezTo>
                    <a:cubicBezTo>
                      <a:pt x="40" y="120"/>
                      <a:pt x="40" y="120"/>
                      <a:pt x="40" y="120"/>
                    </a:cubicBezTo>
                    <a:cubicBezTo>
                      <a:pt x="40" y="60"/>
                      <a:pt x="40" y="60"/>
                      <a:pt x="40" y="60"/>
                    </a:cubicBezTo>
                    <a:cubicBezTo>
                      <a:pt x="58" y="60"/>
                      <a:pt x="58" y="60"/>
                      <a:pt x="58" y="60"/>
                    </a:cubicBezTo>
                    <a:cubicBezTo>
                      <a:pt x="60" y="40"/>
                      <a:pt x="60" y="40"/>
                      <a:pt x="60" y="40"/>
                    </a:cubicBezTo>
                    <a:lnTo>
                      <a:pt x="40" y="4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9" name="Group 18"/>
            <p:cNvGrpSpPr/>
            <p:nvPr/>
          </p:nvGrpSpPr>
          <p:grpSpPr>
            <a:xfrm>
              <a:off x="6069024" y="6568832"/>
              <a:ext cx="1144575" cy="276999"/>
              <a:chOff x="6069024" y="6568832"/>
              <a:chExt cx="1144575" cy="276999"/>
            </a:xfrm>
          </p:grpSpPr>
          <p:sp>
            <p:nvSpPr>
              <p:cNvPr id="7" name="Rectangle 6"/>
              <p:cNvSpPr/>
              <p:nvPr/>
            </p:nvSpPr>
            <p:spPr>
              <a:xfrm>
                <a:off x="6116567"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0" name="Freeform 131"/>
              <p:cNvSpPr>
                <a:spLocks/>
              </p:cNvSpPr>
              <p:nvPr/>
            </p:nvSpPr>
            <p:spPr bwMode="auto">
              <a:xfrm>
                <a:off x="6069024" y="6665214"/>
                <a:ext cx="124932" cy="101731"/>
              </a:xfrm>
              <a:custGeom>
                <a:avLst/>
                <a:gdLst>
                  <a:gd name="T0" fmla="*/ 118 w 118"/>
                  <a:gd name="T1" fmla="*/ 11 h 96"/>
                  <a:gd name="T2" fmla="*/ 104 w 118"/>
                  <a:gd name="T3" fmla="*/ 15 h 96"/>
                  <a:gd name="T4" fmla="*/ 115 w 118"/>
                  <a:gd name="T5" fmla="*/ 2 h 96"/>
                  <a:gd name="T6" fmla="*/ 99 w 118"/>
                  <a:gd name="T7" fmla="*/ 8 h 96"/>
                  <a:gd name="T8" fmla="*/ 82 w 118"/>
                  <a:gd name="T9" fmla="*/ 0 h 96"/>
                  <a:gd name="T10" fmla="*/ 57 w 118"/>
                  <a:gd name="T11" fmla="*/ 24 h 96"/>
                  <a:gd name="T12" fmla="*/ 58 w 118"/>
                  <a:gd name="T13" fmla="*/ 30 h 96"/>
                  <a:gd name="T14" fmla="*/ 8 w 118"/>
                  <a:gd name="T15" fmla="*/ 4 h 96"/>
                  <a:gd name="T16" fmla="*/ 5 w 118"/>
                  <a:gd name="T17" fmla="*/ 17 h 96"/>
                  <a:gd name="T18" fmla="*/ 16 w 118"/>
                  <a:gd name="T19" fmla="*/ 37 h 96"/>
                  <a:gd name="T20" fmla="*/ 5 w 118"/>
                  <a:gd name="T21" fmla="*/ 34 h 96"/>
                  <a:gd name="T22" fmla="*/ 5 w 118"/>
                  <a:gd name="T23" fmla="*/ 34 h 96"/>
                  <a:gd name="T24" fmla="*/ 24 w 118"/>
                  <a:gd name="T25" fmla="*/ 58 h 96"/>
                  <a:gd name="T26" fmla="*/ 18 w 118"/>
                  <a:gd name="T27" fmla="*/ 59 h 96"/>
                  <a:gd name="T28" fmla="*/ 13 w 118"/>
                  <a:gd name="T29" fmla="*/ 58 h 96"/>
                  <a:gd name="T30" fmla="*/ 36 w 118"/>
                  <a:gd name="T31" fmla="*/ 75 h 96"/>
                  <a:gd name="T32" fmla="*/ 6 w 118"/>
                  <a:gd name="T33" fmla="*/ 85 h 96"/>
                  <a:gd name="T34" fmla="*/ 0 w 118"/>
                  <a:gd name="T35" fmla="*/ 85 h 96"/>
                  <a:gd name="T36" fmla="*/ 37 w 118"/>
                  <a:gd name="T37" fmla="*/ 96 h 96"/>
                  <a:gd name="T38" fmla="*/ 106 w 118"/>
                  <a:gd name="T39" fmla="*/ 27 h 96"/>
                  <a:gd name="T40" fmla="*/ 106 w 118"/>
                  <a:gd name="T41" fmla="*/ 24 h 96"/>
                  <a:gd name="T42" fmla="*/ 118 w 118"/>
                  <a:gd name="T43"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96">
                    <a:moveTo>
                      <a:pt x="118" y="11"/>
                    </a:moveTo>
                    <a:cubicBezTo>
                      <a:pt x="114" y="13"/>
                      <a:pt x="109" y="15"/>
                      <a:pt x="104" y="15"/>
                    </a:cubicBezTo>
                    <a:cubicBezTo>
                      <a:pt x="109" y="12"/>
                      <a:pt x="113" y="7"/>
                      <a:pt x="115" y="2"/>
                    </a:cubicBezTo>
                    <a:cubicBezTo>
                      <a:pt x="110" y="5"/>
                      <a:pt x="105" y="7"/>
                      <a:pt x="99" y="8"/>
                    </a:cubicBezTo>
                    <a:cubicBezTo>
                      <a:pt x="95" y="3"/>
                      <a:pt x="89" y="0"/>
                      <a:pt x="82" y="0"/>
                    </a:cubicBezTo>
                    <a:cubicBezTo>
                      <a:pt x="68" y="0"/>
                      <a:pt x="57" y="11"/>
                      <a:pt x="57" y="24"/>
                    </a:cubicBezTo>
                    <a:cubicBezTo>
                      <a:pt x="57" y="26"/>
                      <a:pt x="58" y="28"/>
                      <a:pt x="58" y="30"/>
                    </a:cubicBezTo>
                    <a:cubicBezTo>
                      <a:pt x="38" y="29"/>
                      <a:pt x="20" y="19"/>
                      <a:pt x="8" y="4"/>
                    </a:cubicBezTo>
                    <a:cubicBezTo>
                      <a:pt x="6" y="8"/>
                      <a:pt x="5" y="12"/>
                      <a:pt x="5" y="17"/>
                    </a:cubicBezTo>
                    <a:cubicBezTo>
                      <a:pt x="5" y="25"/>
                      <a:pt x="9" y="32"/>
                      <a:pt x="16" y="37"/>
                    </a:cubicBezTo>
                    <a:cubicBezTo>
                      <a:pt x="12" y="37"/>
                      <a:pt x="8" y="36"/>
                      <a:pt x="5" y="34"/>
                    </a:cubicBezTo>
                    <a:cubicBezTo>
                      <a:pt x="5" y="34"/>
                      <a:pt x="5" y="34"/>
                      <a:pt x="5" y="34"/>
                    </a:cubicBezTo>
                    <a:cubicBezTo>
                      <a:pt x="5" y="46"/>
                      <a:pt x="13" y="56"/>
                      <a:pt x="24" y="58"/>
                    </a:cubicBezTo>
                    <a:cubicBezTo>
                      <a:pt x="22" y="58"/>
                      <a:pt x="20" y="59"/>
                      <a:pt x="18" y="59"/>
                    </a:cubicBezTo>
                    <a:cubicBezTo>
                      <a:pt x="16" y="59"/>
                      <a:pt x="15" y="59"/>
                      <a:pt x="13" y="58"/>
                    </a:cubicBezTo>
                    <a:cubicBezTo>
                      <a:pt x="16" y="68"/>
                      <a:pt x="25" y="75"/>
                      <a:pt x="36" y="75"/>
                    </a:cubicBezTo>
                    <a:cubicBezTo>
                      <a:pt x="28" y="82"/>
                      <a:pt x="17" y="85"/>
                      <a:pt x="6" y="85"/>
                    </a:cubicBezTo>
                    <a:cubicBezTo>
                      <a:pt x="4" y="85"/>
                      <a:pt x="2" y="85"/>
                      <a:pt x="0" y="85"/>
                    </a:cubicBezTo>
                    <a:cubicBezTo>
                      <a:pt x="11" y="92"/>
                      <a:pt x="23" y="96"/>
                      <a:pt x="37" y="96"/>
                    </a:cubicBezTo>
                    <a:cubicBezTo>
                      <a:pt x="82" y="96"/>
                      <a:pt x="106" y="59"/>
                      <a:pt x="106" y="27"/>
                    </a:cubicBezTo>
                    <a:cubicBezTo>
                      <a:pt x="106" y="26"/>
                      <a:pt x="106" y="25"/>
                      <a:pt x="106" y="24"/>
                    </a:cubicBezTo>
                    <a:cubicBezTo>
                      <a:pt x="111" y="21"/>
                      <a:pt x="115" y="16"/>
                      <a:pt x="118" y="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18" name="Group 17"/>
            <p:cNvGrpSpPr/>
            <p:nvPr/>
          </p:nvGrpSpPr>
          <p:grpSpPr>
            <a:xfrm>
              <a:off x="4774970" y="6568832"/>
              <a:ext cx="1159219" cy="276999"/>
              <a:chOff x="4745259" y="6568832"/>
              <a:chExt cx="1159219" cy="276999"/>
            </a:xfrm>
          </p:grpSpPr>
          <p:sp>
            <p:nvSpPr>
              <p:cNvPr id="6" name="Rectangle 5"/>
              <p:cNvSpPr/>
              <p:nvPr/>
            </p:nvSpPr>
            <p:spPr>
              <a:xfrm>
                <a:off x="4807446" y="6568832"/>
                <a:ext cx="1097032" cy="276999"/>
              </a:xfrm>
              <a:prstGeom prst="rect">
                <a:avLst/>
              </a:prstGeom>
            </p:spPr>
            <p:txBody>
              <a:bodyPr wrap="none">
                <a:spAutoFit/>
              </a:bodyPr>
              <a:lstStyle/>
              <a:p>
                <a:pPr lvl="0"/>
                <a:r>
                  <a:rPr lang="en-US" sz="1200" dirty="0">
                    <a:solidFill>
                      <a:schemeClr val="bg1"/>
                    </a:solidFill>
                  </a:rPr>
                  <a:t>/</a:t>
                </a:r>
                <a:r>
                  <a:rPr lang="en-US" sz="1200" dirty="0" err="1">
                    <a:solidFill>
                      <a:schemeClr val="bg1"/>
                    </a:solidFill>
                  </a:rPr>
                  <a:t>tpsworldwide</a:t>
                </a:r>
                <a:endParaRPr lang="en-US" sz="1200" dirty="0">
                  <a:solidFill>
                    <a:schemeClr val="bg1"/>
                  </a:solidFill>
                </a:endParaRPr>
              </a:p>
            </p:txBody>
          </p:sp>
          <p:sp>
            <p:nvSpPr>
              <p:cNvPr id="11" name="Freeform 192"/>
              <p:cNvSpPr>
                <a:spLocks noEditPoints="1"/>
              </p:cNvSpPr>
              <p:nvPr/>
            </p:nvSpPr>
            <p:spPr bwMode="auto">
              <a:xfrm>
                <a:off x="4745259" y="6661198"/>
                <a:ext cx="109762" cy="109762"/>
              </a:xfrm>
              <a:custGeom>
                <a:avLst/>
                <a:gdLst>
                  <a:gd name="T0" fmla="*/ 96 w 104"/>
                  <a:gd name="T1" fmla="*/ 0 h 104"/>
                  <a:gd name="T2" fmla="*/ 8 w 104"/>
                  <a:gd name="T3" fmla="*/ 0 h 104"/>
                  <a:gd name="T4" fmla="*/ 0 w 104"/>
                  <a:gd name="T5" fmla="*/ 8 h 104"/>
                  <a:gd name="T6" fmla="*/ 0 w 104"/>
                  <a:gd name="T7" fmla="*/ 96 h 104"/>
                  <a:gd name="T8" fmla="*/ 8 w 104"/>
                  <a:gd name="T9" fmla="*/ 104 h 104"/>
                  <a:gd name="T10" fmla="*/ 96 w 104"/>
                  <a:gd name="T11" fmla="*/ 104 h 104"/>
                  <a:gd name="T12" fmla="*/ 104 w 104"/>
                  <a:gd name="T13" fmla="*/ 96 h 104"/>
                  <a:gd name="T14" fmla="*/ 104 w 104"/>
                  <a:gd name="T15" fmla="*/ 8 h 104"/>
                  <a:gd name="T16" fmla="*/ 96 w 104"/>
                  <a:gd name="T17" fmla="*/ 0 h 104"/>
                  <a:gd name="T18" fmla="*/ 32 w 104"/>
                  <a:gd name="T19" fmla="*/ 88 h 104"/>
                  <a:gd name="T20" fmla="*/ 16 w 104"/>
                  <a:gd name="T21" fmla="*/ 88 h 104"/>
                  <a:gd name="T22" fmla="*/ 16 w 104"/>
                  <a:gd name="T23" fmla="*/ 40 h 104"/>
                  <a:gd name="T24" fmla="*/ 32 w 104"/>
                  <a:gd name="T25" fmla="*/ 40 h 104"/>
                  <a:gd name="T26" fmla="*/ 32 w 104"/>
                  <a:gd name="T27" fmla="*/ 88 h 104"/>
                  <a:gd name="T28" fmla="*/ 24 w 104"/>
                  <a:gd name="T29" fmla="*/ 34 h 104"/>
                  <a:gd name="T30" fmla="*/ 14 w 104"/>
                  <a:gd name="T31" fmla="*/ 24 h 104"/>
                  <a:gd name="T32" fmla="*/ 24 w 104"/>
                  <a:gd name="T33" fmla="*/ 14 h 104"/>
                  <a:gd name="T34" fmla="*/ 34 w 104"/>
                  <a:gd name="T35" fmla="*/ 24 h 104"/>
                  <a:gd name="T36" fmla="*/ 24 w 104"/>
                  <a:gd name="T37" fmla="*/ 34 h 104"/>
                  <a:gd name="T38" fmla="*/ 88 w 104"/>
                  <a:gd name="T39" fmla="*/ 88 h 104"/>
                  <a:gd name="T40" fmla="*/ 72 w 104"/>
                  <a:gd name="T41" fmla="*/ 88 h 104"/>
                  <a:gd name="T42" fmla="*/ 72 w 104"/>
                  <a:gd name="T43" fmla="*/ 64 h 104"/>
                  <a:gd name="T44" fmla="*/ 64 w 104"/>
                  <a:gd name="T45" fmla="*/ 51 h 104"/>
                  <a:gd name="T46" fmla="*/ 56 w 104"/>
                  <a:gd name="T47" fmla="*/ 64 h 104"/>
                  <a:gd name="T48" fmla="*/ 56 w 104"/>
                  <a:gd name="T49" fmla="*/ 88 h 104"/>
                  <a:gd name="T50" fmla="*/ 40 w 104"/>
                  <a:gd name="T51" fmla="*/ 88 h 104"/>
                  <a:gd name="T52" fmla="*/ 40 w 104"/>
                  <a:gd name="T53" fmla="*/ 40 h 104"/>
                  <a:gd name="T54" fmla="*/ 56 w 104"/>
                  <a:gd name="T55" fmla="*/ 40 h 104"/>
                  <a:gd name="T56" fmla="*/ 56 w 104"/>
                  <a:gd name="T57" fmla="*/ 46 h 104"/>
                  <a:gd name="T58" fmla="*/ 57 w 104"/>
                  <a:gd name="T59" fmla="*/ 46 h 104"/>
                  <a:gd name="T60" fmla="*/ 70 w 104"/>
                  <a:gd name="T61" fmla="*/ 39 h 104"/>
                  <a:gd name="T62" fmla="*/ 88 w 104"/>
                  <a:gd name="T63" fmla="*/ 60 h 104"/>
                  <a:gd name="T64" fmla="*/ 88 w 104"/>
                  <a:gd name="T6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96" y="0"/>
                    </a:moveTo>
                    <a:cubicBezTo>
                      <a:pt x="8" y="0"/>
                      <a:pt x="8" y="0"/>
                      <a:pt x="8" y="0"/>
                    </a:cubicBezTo>
                    <a:cubicBezTo>
                      <a:pt x="3" y="0"/>
                      <a:pt x="0" y="3"/>
                      <a:pt x="0" y="8"/>
                    </a:cubicBezTo>
                    <a:cubicBezTo>
                      <a:pt x="0" y="96"/>
                      <a:pt x="0" y="96"/>
                      <a:pt x="0" y="96"/>
                    </a:cubicBezTo>
                    <a:cubicBezTo>
                      <a:pt x="0" y="101"/>
                      <a:pt x="3" y="104"/>
                      <a:pt x="8" y="104"/>
                    </a:cubicBezTo>
                    <a:cubicBezTo>
                      <a:pt x="96" y="104"/>
                      <a:pt x="96" y="104"/>
                      <a:pt x="96" y="104"/>
                    </a:cubicBezTo>
                    <a:cubicBezTo>
                      <a:pt x="101" y="104"/>
                      <a:pt x="104" y="101"/>
                      <a:pt x="104" y="96"/>
                    </a:cubicBezTo>
                    <a:cubicBezTo>
                      <a:pt x="104" y="8"/>
                      <a:pt x="104" y="8"/>
                      <a:pt x="104" y="8"/>
                    </a:cubicBezTo>
                    <a:cubicBezTo>
                      <a:pt x="104" y="3"/>
                      <a:pt x="101" y="0"/>
                      <a:pt x="96" y="0"/>
                    </a:cubicBezTo>
                    <a:close/>
                    <a:moveTo>
                      <a:pt x="32" y="88"/>
                    </a:moveTo>
                    <a:cubicBezTo>
                      <a:pt x="16" y="88"/>
                      <a:pt x="16" y="88"/>
                      <a:pt x="16" y="88"/>
                    </a:cubicBezTo>
                    <a:cubicBezTo>
                      <a:pt x="16" y="40"/>
                      <a:pt x="16" y="40"/>
                      <a:pt x="16" y="40"/>
                    </a:cubicBezTo>
                    <a:cubicBezTo>
                      <a:pt x="32" y="40"/>
                      <a:pt x="32" y="40"/>
                      <a:pt x="32" y="40"/>
                    </a:cubicBezTo>
                    <a:lnTo>
                      <a:pt x="32" y="88"/>
                    </a:lnTo>
                    <a:close/>
                    <a:moveTo>
                      <a:pt x="24" y="34"/>
                    </a:moveTo>
                    <a:cubicBezTo>
                      <a:pt x="19" y="34"/>
                      <a:pt x="14" y="29"/>
                      <a:pt x="14" y="24"/>
                    </a:cubicBezTo>
                    <a:cubicBezTo>
                      <a:pt x="14" y="19"/>
                      <a:pt x="19" y="14"/>
                      <a:pt x="24" y="14"/>
                    </a:cubicBezTo>
                    <a:cubicBezTo>
                      <a:pt x="29" y="14"/>
                      <a:pt x="34" y="19"/>
                      <a:pt x="34" y="24"/>
                    </a:cubicBezTo>
                    <a:cubicBezTo>
                      <a:pt x="34" y="29"/>
                      <a:pt x="29" y="34"/>
                      <a:pt x="24" y="34"/>
                    </a:cubicBezTo>
                    <a:close/>
                    <a:moveTo>
                      <a:pt x="88" y="88"/>
                    </a:moveTo>
                    <a:cubicBezTo>
                      <a:pt x="72" y="88"/>
                      <a:pt x="72" y="88"/>
                      <a:pt x="72" y="88"/>
                    </a:cubicBezTo>
                    <a:cubicBezTo>
                      <a:pt x="72" y="64"/>
                      <a:pt x="72" y="64"/>
                      <a:pt x="72" y="64"/>
                    </a:cubicBezTo>
                    <a:cubicBezTo>
                      <a:pt x="72" y="58"/>
                      <a:pt x="70" y="51"/>
                      <a:pt x="64" y="51"/>
                    </a:cubicBezTo>
                    <a:cubicBezTo>
                      <a:pt x="58" y="51"/>
                      <a:pt x="56" y="58"/>
                      <a:pt x="56" y="64"/>
                    </a:cubicBezTo>
                    <a:cubicBezTo>
                      <a:pt x="56" y="88"/>
                      <a:pt x="56" y="88"/>
                      <a:pt x="56" y="88"/>
                    </a:cubicBezTo>
                    <a:cubicBezTo>
                      <a:pt x="40" y="88"/>
                      <a:pt x="40" y="88"/>
                      <a:pt x="40" y="88"/>
                    </a:cubicBezTo>
                    <a:cubicBezTo>
                      <a:pt x="40" y="40"/>
                      <a:pt x="40" y="40"/>
                      <a:pt x="40" y="40"/>
                    </a:cubicBezTo>
                    <a:cubicBezTo>
                      <a:pt x="56" y="40"/>
                      <a:pt x="56" y="40"/>
                      <a:pt x="56" y="40"/>
                    </a:cubicBezTo>
                    <a:cubicBezTo>
                      <a:pt x="56" y="46"/>
                      <a:pt x="56" y="46"/>
                      <a:pt x="56" y="46"/>
                    </a:cubicBezTo>
                    <a:cubicBezTo>
                      <a:pt x="57" y="46"/>
                      <a:pt x="57" y="46"/>
                      <a:pt x="57" y="46"/>
                    </a:cubicBezTo>
                    <a:cubicBezTo>
                      <a:pt x="59" y="42"/>
                      <a:pt x="64" y="39"/>
                      <a:pt x="70" y="39"/>
                    </a:cubicBezTo>
                    <a:cubicBezTo>
                      <a:pt x="85" y="39"/>
                      <a:pt x="88" y="48"/>
                      <a:pt x="88" y="60"/>
                    </a:cubicBezTo>
                    <a:lnTo>
                      <a:pt x="88" y="8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nvGrpSpPr>
            <p:cNvPr id="20" name="Group 19"/>
            <p:cNvGrpSpPr/>
            <p:nvPr/>
          </p:nvGrpSpPr>
          <p:grpSpPr>
            <a:xfrm>
              <a:off x="7350594" y="6568832"/>
              <a:ext cx="1767952" cy="276999"/>
              <a:chOff x="7439181" y="6568832"/>
              <a:chExt cx="1767952" cy="276999"/>
            </a:xfrm>
          </p:grpSpPr>
          <p:sp>
            <p:nvSpPr>
              <p:cNvPr id="8" name="Rectangle 7"/>
              <p:cNvSpPr/>
              <p:nvPr/>
            </p:nvSpPr>
            <p:spPr>
              <a:xfrm>
                <a:off x="7503077" y="6568832"/>
                <a:ext cx="1704056" cy="276999"/>
              </a:xfrm>
              <a:prstGeom prst="rect">
                <a:avLst/>
              </a:prstGeom>
            </p:spPr>
            <p:txBody>
              <a:bodyPr wrap="none">
                <a:spAutoFit/>
              </a:bodyPr>
              <a:lstStyle/>
              <a:p>
                <a:pPr algn="r"/>
                <a:r>
                  <a:rPr lang="en-US" altLang="ko-KR" sz="1200" dirty="0" smtClean="0">
                    <a:solidFill>
                      <a:schemeClr val="bg1"/>
                    </a:solidFill>
                    <a:latin typeface="Calibri" panose="020F0502020204030204" pitchFamily="34" charset="0"/>
                    <a:cs typeface="Calibri" panose="020F0502020204030204" pitchFamily="34" charset="0"/>
                  </a:rPr>
                  <a:t>www.tpsworldwide.com</a:t>
                </a:r>
                <a:endParaRPr lang="ko-KR" altLang="en-US" sz="1200" dirty="0">
                  <a:solidFill>
                    <a:schemeClr val="bg1"/>
                  </a:solidFill>
                  <a:latin typeface="Calibri" panose="020F0502020204030204" pitchFamily="34" charset="0"/>
                  <a:cs typeface="Calibri" panose="020F0502020204030204" pitchFamily="34" charset="0"/>
                </a:endParaRPr>
              </a:p>
            </p:txBody>
          </p:sp>
          <p:grpSp>
            <p:nvGrpSpPr>
              <p:cNvPr id="13" name="Group 12"/>
              <p:cNvGrpSpPr/>
              <p:nvPr/>
            </p:nvGrpSpPr>
            <p:grpSpPr>
              <a:xfrm>
                <a:off x="7439181" y="6648704"/>
                <a:ext cx="127791" cy="126717"/>
                <a:chOff x="5370513" y="2312988"/>
                <a:chExt cx="1322388" cy="1311275"/>
              </a:xfrm>
              <a:solidFill>
                <a:schemeClr val="bg1"/>
              </a:solidFill>
            </p:grpSpPr>
            <p:sp>
              <p:nvSpPr>
                <p:cNvPr id="14" name="Freeform 6"/>
                <p:cNvSpPr>
                  <a:spLocks noEditPoints="1"/>
                </p:cNvSpPr>
                <p:nvPr/>
              </p:nvSpPr>
              <p:spPr bwMode="auto">
                <a:xfrm>
                  <a:off x="5370513" y="2862263"/>
                  <a:ext cx="1322388" cy="215900"/>
                </a:xfrm>
                <a:custGeom>
                  <a:avLst/>
                  <a:gdLst>
                    <a:gd name="T0" fmla="*/ 2465 w 3330"/>
                    <a:gd name="T1" fmla="*/ 3 h 543"/>
                    <a:gd name="T2" fmla="*/ 2487 w 3330"/>
                    <a:gd name="T3" fmla="*/ 22 h 543"/>
                    <a:gd name="T4" fmla="*/ 2608 w 3330"/>
                    <a:gd name="T5" fmla="*/ 296 h 543"/>
                    <a:gd name="T6" fmla="*/ 2737 w 3330"/>
                    <a:gd name="T7" fmla="*/ 10 h 543"/>
                    <a:gd name="T8" fmla="*/ 2864 w 3330"/>
                    <a:gd name="T9" fmla="*/ 0 h 543"/>
                    <a:gd name="T10" fmla="*/ 2897 w 3330"/>
                    <a:gd name="T11" fmla="*/ 21 h 543"/>
                    <a:gd name="T12" fmla="*/ 3025 w 3330"/>
                    <a:gd name="T13" fmla="*/ 321 h 543"/>
                    <a:gd name="T14" fmla="*/ 3142 w 3330"/>
                    <a:gd name="T15" fmla="*/ 22 h 543"/>
                    <a:gd name="T16" fmla="*/ 3165 w 3330"/>
                    <a:gd name="T17" fmla="*/ 3 h 543"/>
                    <a:gd name="T18" fmla="*/ 3306 w 3330"/>
                    <a:gd name="T19" fmla="*/ 3 h 543"/>
                    <a:gd name="T20" fmla="*/ 3329 w 3330"/>
                    <a:gd name="T21" fmla="*/ 23 h 543"/>
                    <a:gd name="T22" fmla="*/ 3113 w 3330"/>
                    <a:gd name="T23" fmla="*/ 523 h 543"/>
                    <a:gd name="T24" fmla="*/ 3080 w 3330"/>
                    <a:gd name="T25" fmla="*/ 543 h 543"/>
                    <a:gd name="T26" fmla="*/ 2945 w 3330"/>
                    <a:gd name="T27" fmla="*/ 533 h 543"/>
                    <a:gd name="T28" fmla="*/ 2822 w 3330"/>
                    <a:gd name="T29" fmla="*/ 260 h 543"/>
                    <a:gd name="T30" fmla="*/ 2780 w 3330"/>
                    <a:gd name="T31" fmla="*/ 294 h 543"/>
                    <a:gd name="T32" fmla="*/ 2654 w 3330"/>
                    <a:gd name="T33" fmla="*/ 541 h 543"/>
                    <a:gd name="T34" fmla="*/ 2516 w 3330"/>
                    <a:gd name="T35" fmla="*/ 540 h 543"/>
                    <a:gd name="T36" fmla="*/ 2297 w 3330"/>
                    <a:gd name="T37" fmla="*/ 42 h 543"/>
                    <a:gd name="T38" fmla="*/ 2301 w 3330"/>
                    <a:gd name="T39" fmla="*/ 14 h 543"/>
                    <a:gd name="T40" fmla="*/ 2330 w 3330"/>
                    <a:gd name="T41" fmla="*/ 0 h 543"/>
                    <a:gd name="T42" fmla="*/ 1321 w 3330"/>
                    <a:gd name="T43" fmla="*/ 4 h 543"/>
                    <a:gd name="T44" fmla="*/ 1428 w 3330"/>
                    <a:gd name="T45" fmla="*/ 266 h 543"/>
                    <a:gd name="T46" fmla="*/ 1474 w 3330"/>
                    <a:gd name="T47" fmla="*/ 265 h 543"/>
                    <a:gd name="T48" fmla="*/ 1601 w 3330"/>
                    <a:gd name="T49" fmla="*/ 4 h 543"/>
                    <a:gd name="T50" fmla="*/ 1731 w 3330"/>
                    <a:gd name="T51" fmla="*/ 4 h 543"/>
                    <a:gd name="T52" fmla="*/ 1853 w 3330"/>
                    <a:gd name="T53" fmla="*/ 261 h 543"/>
                    <a:gd name="T54" fmla="*/ 1888 w 3330"/>
                    <a:gd name="T55" fmla="*/ 294 h 543"/>
                    <a:gd name="T56" fmla="*/ 2000 w 3330"/>
                    <a:gd name="T57" fmla="*/ 13 h 543"/>
                    <a:gd name="T58" fmla="*/ 2028 w 3330"/>
                    <a:gd name="T59" fmla="*/ 0 h 543"/>
                    <a:gd name="T60" fmla="*/ 2168 w 3330"/>
                    <a:gd name="T61" fmla="*/ 7 h 543"/>
                    <a:gd name="T62" fmla="*/ 2182 w 3330"/>
                    <a:gd name="T63" fmla="*/ 32 h 543"/>
                    <a:gd name="T64" fmla="*/ 1958 w 3330"/>
                    <a:gd name="T65" fmla="*/ 533 h 543"/>
                    <a:gd name="T66" fmla="*/ 1823 w 3330"/>
                    <a:gd name="T67" fmla="*/ 543 h 543"/>
                    <a:gd name="T68" fmla="*/ 1791 w 3330"/>
                    <a:gd name="T69" fmla="*/ 523 h 543"/>
                    <a:gd name="T70" fmla="*/ 1661 w 3330"/>
                    <a:gd name="T71" fmla="*/ 228 h 543"/>
                    <a:gd name="T72" fmla="*/ 1526 w 3330"/>
                    <a:gd name="T73" fmla="*/ 524 h 543"/>
                    <a:gd name="T74" fmla="*/ 1493 w 3330"/>
                    <a:gd name="T75" fmla="*/ 543 h 543"/>
                    <a:gd name="T76" fmla="*/ 1363 w 3330"/>
                    <a:gd name="T77" fmla="*/ 536 h 543"/>
                    <a:gd name="T78" fmla="*/ 1150 w 3330"/>
                    <a:gd name="T79" fmla="*/ 42 h 543"/>
                    <a:gd name="T80" fmla="*/ 1154 w 3330"/>
                    <a:gd name="T81" fmla="*/ 14 h 543"/>
                    <a:gd name="T82" fmla="*/ 1183 w 3330"/>
                    <a:gd name="T83" fmla="*/ 0 h 543"/>
                    <a:gd name="T84" fmla="*/ 170 w 3330"/>
                    <a:gd name="T85" fmla="*/ 3 h 543"/>
                    <a:gd name="T86" fmla="*/ 193 w 3330"/>
                    <a:gd name="T87" fmla="*/ 22 h 543"/>
                    <a:gd name="T88" fmla="*/ 302 w 3330"/>
                    <a:gd name="T89" fmla="*/ 325 h 543"/>
                    <a:gd name="T90" fmla="*/ 435 w 3330"/>
                    <a:gd name="T91" fmla="*/ 21 h 543"/>
                    <a:gd name="T92" fmla="*/ 467 w 3330"/>
                    <a:gd name="T93" fmla="*/ 0 h 543"/>
                    <a:gd name="T94" fmla="*/ 595 w 3330"/>
                    <a:gd name="T95" fmla="*/ 10 h 543"/>
                    <a:gd name="T96" fmla="*/ 718 w 3330"/>
                    <a:gd name="T97" fmla="*/ 292 h 543"/>
                    <a:gd name="T98" fmla="*/ 752 w 3330"/>
                    <a:gd name="T99" fmla="*/ 262 h 543"/>
                    <a:gd name="T100" fmla="*/ 859 w 3330"/>
                    <a:gd name="T101" fmla="*/ 7 h 543"/>
                    <a:gd name="T102" fmla="*/ 1000 w 3330"/>
                    <a:gd name="T103" fmla="*/ 0 h 543"/>
                    <a:gd name="T104" fmla="*/ 1029 w 3330"/>
                    <a:gd name="T105" fmla="*/ 14 h 543"/>
                    <a:gd name="T106" fmla="*/ 1033 w 3330"/>
                    <a:gd name="T107" fmla="*/ 43 h 543"/>
                    <a:gd name="T108" fmla="*/ 799 w 3330"/>
                    <a:gd name="T109" fmla="*/ 540 h 543"/>
                    <a:gd name="T110" fmla="*/ 662 w 3330"/>
                    <a:gd name="T111" fmla="*/ 540 h 543"/>
                    <a:gd name="T112" fmla="*/ 541 w 3330"/>
                    <a:gd name="T113" fmla="*/ 294 h 543"/>
                    <a:gd name="T114" fmla="*/ 500 w 3330"/>
                    <a:gd name="T115" fmla="*/ 262 h 543"/>
                    <a:gd name="T116" fmla="*/ 371 w 3330"/>
                    <a:gd name="T117" fmla="*/ 533 h 543"/>
                    <a:gd name="T118" fmla="*/ 236 w 3330"/>
                    <a:gd name="T119" fmla="*/ 543 h 543"/>
                    <a:gd name="T120" fmla="*/ 202 w 3330"/>
                    <a:gd name="T121" fmla="*/ 522 h 543"/>
                    <a:gd name="T122" fmla="*/ 2 w 3330"/>
                    <a:gd name="T123" fmla="*/ 23 h 543"/>
                    <a:gd name="T124" fmla="*/ 25 w 3330"/>
                    <a:gd name="T125" fmla="*/ 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30" h="543">
                      <a:moveTo>
                        <a:pt x="2330" y="0"/>
                      </a:moveTo>
                      <a:lnTo>
                        <a:pt x="2454" y="0"/>
                      </a:lnTo>
                      <a:lnTo>
                        <a:pt x="2465" y="3"/>
                      </a:lnTo>
                      <a:lnTo>
                        <a:pt x="2475" y="7"/>
                      </a:lnTo>
                      <a:lnTo>
                        <a:pt x="2483" y="13"/>
                      </a:lnTo>
                      <a:lnTo>
                        <a:pt x="2487" y="22"/>
                      </a:lnTo>
                      <a:lnTo>
                        <a:pt x="2575" y="266"/>
                      </a:lnTo>
                      <a:lnTo>
                        <a:pt x="2597" y="325"/>
                      </a:lnTo>
                      <a:lnTo>
                        <a:pt x="2608" y="296"/>
                      </a:lnTo>
                      <a:lnTo>
                        <a:pt x="2620" y="265"/>
                      </a:lnTo>
                      <a:lnTo>
                        <a:pt x="2730" y="21"/>
                      </a:lnTo>
                      <a:lnTo>
                        <a:pt x="2737" y="10"/>
                      </a:lnTo>
                      <a:lnTo>
                        <a:pt x="2748" y="4"/>
                      </a:lnTo>
                      <a:lnTo>
                        <a:pt x="2762" y="0"/>
                      </a:lnTo>
                      <a:lnTo>
                        <a:pt x="2864" y="0"/>
                      </a:lnTo>
                      <a:lnTo>
                        <a:pt x="2877" y="4"/>
                      </a:lnTo>
                      <a:lnTo>
                        <a:pt x="2889" y="10"/>
                      </a:lnTo>
                      <a:lnTo>
                        <a:pt x="2897" y="21"/>
                      </a:lnTo>
                      <a:lnTo>
                        <a:pt x="3000" y="261"/>
                      </a:lnTo>
                      <a:lnTo>
                        <a:pt x="3013" y="292"/>
                      </a:lnTo>
                      <a:lnTo>
                        <a:pt x="3025" y="321"/>
                      </a:lnTo>
                      <a:lnTo>
                        <a:pt x="3035" y="294"/>
                      </a:lnTo>
                      <a:lnTo>
                        <a:pt x="3047" y="262"/>
                      </a:lnTo>
                      <a:lnTo>
                        <a:pt x="3142" y="22"/>
                      </a:lnTo>
                      <a:lnTo>
                        <a:pt x="3147" y="13"/>
                      </a:lnTo>
                      <a:lnTo>
                        <a:pt x="3155" y="7"/>
                      </a:lnTo>
                      <a:lnTo>
                        <a:pt x="3165" y="3"/>
                      </a:lnTo>
                      <a:lnTo>
                        <a:pt x="3175" y="0"/>
                      </a:lnTo>
                      <a:lnTo>
                        <a:pt x="3294" y="0"/>
                      </a:lnTo>
                      <a:lnTo>
                        <a:pt x="3306" y="3"/>
                      </a:lnTo>
                      <a:lnTo>
                        <a:pt x="3316" y="7"/>
                      </a:lnTo>
                      <a:lnTo>
                        <a:pt x="3323" y="14"/>
                      </a:lnTo>
                      <a:lnTo>
                        <a:pt x="3329" y="23"/>
                      </a:lnTo>
                      <a:lnTo>
                        <a:pt x="3330" y="32"/>
                      </a:lnTo>
                      <a:lnTo>
                        <a:pt x="3328" y="43"/>
                      </a:lnTo>
                      <a:lnTo>
                        <a:pt x="3113" y="523"/>
                      </a:lnTo>
                      <a:lnTo>
                        <a:pt x="3106" y="533"/>
                      </a:lnTo>
                      <a:lnTo>
                        <a:pt x="3094" y="540"/>
                      </a:lnTo>
                      <a:lnTo>
                        <a:pt x="3080" y="543"/>
                      </a:lnTo>
                      <a:lnTo>
                        <a:pt x="2971" y="543"/>
                      </a:lnTo>
                      <a:lnTo>
                        <a:pt x="2957" y="540"/>
                      </a:lnTo>
                      <a:lnTo>
                        <a:pt x="2945" y="533"/>
                      </a:lnTo>
                      <a:lnTo>
                        <a:pt x="2938" y="523"/>
                      </a:lnTo>
                      <a:lnTo>
                        <a:pt x="2837" y="294"/>
                      </a:lnTo>
                      <a:lnTo>
                        <a:pt x="2822" y="260"/>
                      </a:lnTo>
                      <a:lnTo>
                        <a:pt x="2809" y="228"/>
                      </a:lnTo>
                      <a:lnTo>
                        <a:pt x="2795" y="262"/>
                      </a:lnTo>
                      <a:lnTo>
                        <a:pt x="2780" y="294"/>
                      </a:lnTo>
                      <a:lnTo>
                        <a:pt x="2673" y="524"/>
                      </a:lnTo>
                      <a:lnTo>
                        <a:pt x="2665" y="533"/>
                      </a:lnTo>
                      <a:lnTo>
                        <a:pt x="2654" y="541"/>
                      </a:lnTo>
                      <a:lnTo>
                        <a:pt x="2641" y="543"/>
                      </a:lnTo>
                      <a:lnTo>
                        <a:pt x="2531" y="543"/>
                      </a:lnTo>
                      <a:lnTo>
                        <a:pt x="2516" y="540"/>
                      </a:lnTo>
                      <a:lnTo>
                        <a:pt x="2505" y="533"/>
                      </a:lnTo>
                      <a:lnTo>
                        <a:pt x="2497" y="522"/>
                      </a:lnTo>
                      <a:lnTo>
                        <a:pt x="2297" y="42"/>
                      </a:lnTo>
                      <a:lnTo>
                        <a:pt x="2294" y="32"/>
                      </a:lnTo>
                      <a:lnTo>
                        <a:pt x="2297" y="23"/>
                      </a:lnTo>
                      <a:lnTo>
                        <a:pt x="2301" y="14"/>
                      </a:lnTo>
                      <a:lnTo>
                        <a:pt x="2309" y="7"/>
                      </a:lnTo>
                      <a:lnTo>
                        <a:pt x="2319" y="3"/>
                      </a:lnTo>
                      <a:lnTo>
                        <a:pt x="2330" y="0"/>
                      </a:lnTo>
                      <a:close/>
                      <a:moveTo>
                        <a:pt x="1183" y="0"/>
                      </a:moveTo>
                      <a:lnTo>
                        <a:pt x="1306" y="0"/>
                      </a:lnTo>
                      <a:lnTo>
                        <a:pt x="1321" y="4"/>
                      </a:lnTo>
                      <a:lnTo>
                        <a:pt x="1333" y="11"/>
                      </a:lnTo>
                      <a:lnTo>
                        <a:pt x="1341" y="22"/>
                      </a:lnTo>
                      <a:lnTo>
                        <a:pt x="1428" y="266"/>
                      </a:lnTo>
                      <a:lnTo>
                        <a:pt x="1449" y="325"/>
                      </a:lnTo>
                      <a:lnTo>
                        <a:pt x="1461" y="296"/>
                      </a:lnTo>
                      <a:lnTo>
                        <a:pt x="1474" y="265"/>
                      </a:lnTo>
                      <a:lnTo>
                        <a:pt x="1582" y="21"/>
                      </a:lnTo>
                      <a:lnTo>
                        <a:pt x="1589" y="10"/>
                      </a:lnTo>
                      <a:lnTo>
                        <a:pt x="1601" y="4"/>
                      </a:lnTo>
                      <a:lnTo>
                        <a:pt x="1615" y="0"/>
                      </a:lnTo>
                      <a:lnTo>
                        <a:pt x="1717" y="0"/>
                      </a:lnTo>
                      <a:lnTo>
                        <a:pt x="1731" y="4"/>
                      </a:lnTo>
                      <a:lnTo>
                        <a:pt x="1743" y="10"/>
                      </a:lnTo>
                      <a:lnTo>
                        <a:pt x="1750" y="21"/>
                      </a:lnTo>
                      <a:lnTo>
                        <a:pt x="1853" y="261"/>
                      </a:lnTo>
                      <a:lnTo>
                        <a:pt x="1866" y="292"/>
                      </a:lnTo>
                      <a:lnTo>
                        <a:pt x="1878" y="321"/>
                      </a:lnTo>
                      <a:lnTo>
                        <a:pt x="1888" y="294"/>
                      </a:lnTo>
                      <a:lnTo>
                        <a:pt x="1899" y="262"/>
                      </a:lnTo>
                      <a:lnTo>
                        <a:pt x="1994" y="22"/>
                      </a:lnTo>
                      <a:lnTo>
                        <a:pt x="2000" y="13"/>
                      </a:lnTo>
                      <a:lnTo>
                        <a:pt x="2007" y="7"/>
                      </a:lnTo>
                      <a:lnTo>
                        <a:pt x="2017" y="3"/>
                      </a:lnTo>
                      <a:lnTo>
                        <a:pt x="2028" y="0"/>
                      </a:lnTo>
                      <a:lnTo>
                        <a:pt x="2147" y="0"/>
                      </a:lnTo>
                      <a:lnTo>
                        <a:pt x="2158" y="3"/>
                      </a:lnTo>
                      <a:lnTo>
                        <a:pt x="2168" y="7"/>
                      </a:lnTo>
                      <a:lnTo>
                        <a:pt x="2177" y="14"/>
                      </a:lnTo>
                      <a:lnTo>
                        <a:pt x="2181" y="23"/>
                      </a:lnTo>
                      <a:lnTo>
                        <a:pt x="2182" y="32"/>
                      </a:lnTo>
                      <a:lnTo>
                        <a:pt x="2180" y="43"/>
                      </a:lnTo>
                      <a:lnTo>
                        <a:pt x="1967" y="523"/>
                      </a:lnTo>
                      <a:lnTo>
                        <a:pt x="1958" y="533"/>
                      </a:lnTo>
                      <a:lnTo>
                        <a:pt x="1947" y="540"/>
                      </a:lnTo>
                      <a:lnTo>
                        <a:pt x="1933" y="543"/>
                      </a:lnTo>
                      <a:lnTo>
                        <a:pt x="1823" y="543"/>
                      </a:lnTo>
                      <a:lnTo>
                        <a:pt x="1809" y="540"/>
                      </a:lnTo>
                      <a:lnTo>
                        <a:pt x="1798" y="533"/>
                      </a:lnTo>
                      <a:lnTo>
                        <a:pt x="1791" y="523"/>
                      </a:lnTo>
                      <a:lnTo>
                        <a:pt x="1689" y="294"/>
                      </a:lnTo>
                      <a:lnTo>
                        <a:pt x="1674" y="260"/>
                      </a:lnTo>
                      <a:lnTo>
                        <a:pt x="1661" y="228"/>
                      </a:lnTo>
                      <a:lnTo>
                        <a:pt x="1647" y="262"/>
                      </a:lnTo>
                      <a:lnTo>
                        <a:pt x="1633" y="294"/>
                      </a:lnTo>
                      <a:lnTo>
                        <a:pt x="1526" y="524"/>
                      </a:lnTo>
                      <a:lnTo>
                        <a:pt x="1519" y="533"/>
                      </a:lnTo>
                      <a:lnTo>
                        <a:pt x="1507" y="541"/>
                      </a:lnTo>
                      <a:lnTo>
                        <a:pt x="1493" y="543"/>
                      </a:lnTo>
                      <a:lnTo>
                        <a:pt x="1383" y="543"/>
                      </a:lnTo>
                      <a:lnTo>
                        <a:pt x="1373" y="541"/>
                      </a:lnTo>
                      <a:lnTo>
                        <a:pt x="1363" y="536"/>
                      </a:lnTo>
                      <a:lnTo>
                        <a:pt x="1355" y="530"/>
                      </a:lnTo>
                      <a:lnTo>
                        <a:pt x="1350" y="522"/>
                      </a:lnTo>
                      <a:lnTo>
                        <a:pt x="1150" y="42"/>
                      </a:lnTo>
                      <a:lnTo>
                        <a:pt x="1148" y="32"/>
                      </a:lnTo>
                      <a:lnTo>
                        <a:pt x="1149" y="23"/>
                      </a:lnTo>
                      <a:lnTo>
                        <a:pt x="1154" y="14"/>
                      </a:lnTo>
                      <a:lnTo>
                        <a:pt x="1162" y="7"/>
                      </a:lnTo>
                      <a:lnTo>
                        <a:pt x="1171" y="3"/>
                      </a:lnTo>
                      <a:lnTo>
                        <a:pt x="1183" y="0"/>
                      </a:lnTo>
                      <a:close/>
                      <a:moveTo>
                        <a:pt x="36" y="0"/>
                      </a:moveTo>
                      <a:lnTo>
                        <a:pt x="158" y="0"/>
                      </a:lnTo>
                      <a:lnTo>
                        <a:pt x="170" y="3"/>
                      </a:lnTo>
                      <a:lnTo>
                        <a:pt x="180" y="7"/>
                      </a:lnTo>
                      <a:lnTo>
                        <a:pt x="188" y="13"/>
                      </a:lnTo>
                      <a:lnTo>
                        <a:pt x="193" y="22"/>
                      </a:lnTo>
                      <a:lnTo>
                        <a:pt x="281" y="266"/>
                      </a:lnTo>
                      <a:lnTo>
                        <a:pt x="291" y="296"/>
                      </a:lnTo>
                      <a:lnTo>
                        <a:pt x="302" y="325"/>
                      </a:lnTo>
                      <a:lnTo>
                        <a:pt x="314" y="296"/>
                      </a:lnTo>
                      <a:lnTo>
                        <a:pt x="326" y="265"/>
                      </a:lnTo>
                      <a:lnTo>
                        <a:pt x="435" y="21"/>
                      </a:lnTo>
                      <a:lnTo>
                        <a:pt x="442" y="10"/>
                      </a:lnTo>
                      <a:lnTo>
                        <a:pt x="453" y="4"/>
                      </a:lnTo>
                      <a:lnTo>
                        <a:pt x="467" y="0"/>
                      </a:lnTo>
                      <a:lnTo>
                        <a:pt x="569" y="0"/>
                      </a:lnTo>
                      <a:lnTo>
                        <a:pt x="583" y="4"/>
                      </a:lnTo>
                      <a:lnTo>
                        <a:pt x="595" y="10"/>
                      </a:lnTo>
                      <a:lnTo>
                        <a:pt x="602" y="21"/>
                      </a:lnTo>
                      <a:lnTo>
                        <a:pt x="705" y="261"/>
                      </a:lnTo>
                      <a:lnTo>
                        <a:pt x="718" y="292"/>
                      </a:lnTo>
                      <a:lnTo>
                        <a:pt x="731" y="321"/>
                      </a:lnTo>
                      <a:lnTo>
                        <a:pt x="740" y="294"/>
                      </a:lnTo>
                      <a:lnTo>
                        <a:pt x="752" y="262"/>
                      </a:lnTo>
                      <a:lnTo>
                        <a:pt x="847" y="22"/>
                      </a:lnTo>
                      <a:lnTo>
                        <a:pt x="852" y="13"/>
                      </a:lnTo>
                      <a:lnTo>
                        <a:pt x="859" y="7"/>
                      </a:lnTo>
                      <a:lnTo>
                        <a:pt x="870" y="3"/>
                      </a:lnTo>
                      <a:lnTo>
                        <a:pt x="881" y="0"/>
                      </a:lnTo>
                      <a:lnTo>
                        <a:pt x="1000" y="0"/>
                      </a:lnTo>
                      <a:lnTo>
                        <a:pt x="1011" y="3"/>
                      </a:lnTo>
                      <a:lnTo>
                        <a:pt x="1021" y="7"/>
                      </a:lnTo>
                      <a:lnTo>
                        <a:pt x="1029" y="14"/>
                      </a:lnTo>
                      <a:lnTo>
                        <a:pt x="1034" y="23"/>
                      </a:lnTo>
                      <a:lnTo>
                        <a:pt x="1035" y="32"/>
                      </a:lnTo>
                      <a:lnTo>
                        <a:pt x="1033" y="43"/>
                      </a:lnTo>
                      <a:lnTo>
                        <a:pt x="819" y="523"/>
                      </a:lnTo>
                      <a:lnTo>
                        <a:pt x="811" y="533"/>
                      </a:lnTo>
                      <a:lnTo>
                        <a:pt x="799" y="540"/>
                      </a:lnTo>
                      <a:lnTo>
                        <a:pt x="785" y="543"/>
                      </a:lnTo>
                      <a:lnTo>
                        <a:pt x="676" y="543"/>
                      </a:lnTo>
                      <a:lnTo>
                        <a:pt x="662" y="540"/>
                      </a:lnTo>
                      <a:lnTo>
                        <a:pt x="650" y="533"/>
                      </a:lnTo>
                      <a:lnTo>
                        <a:pt x="643" y="523"/>
                      </a:lnTo>
                      <a:lnTo>
                        <a:pt x="541" y="294"/>
                      </a:lnTo>
                      <a:lnTo>
                        <a:pt x="527" y="260"/>
                      </a:lnTo>
                      <a:lnTo>
                        <a:pt x="514" y="228"/>
                      </a:lnTo>
                      <a:lnTo>
                        <a:pt x="500" y="262"/>
                      </a:lnTo>
                      <a:lnTo>
                        <a:pt x="485" y="294"/>
                      </a:lnTo>
                      <a:lnTo>
                        <a:pt x="378" y="524"/>
                      </a:lnTo>
                      <a:lnTo>
                        <a:pt x="371" y="533"/>
                      </a:lnTo>
                      <a:lnTo>
                        <a:pt x="359" y="541"/>
                      </a:lnTo>
                      <a:lnTo>
                        <a:pt x="345" y="543"/>
                      </a:lnTo>
                      <a:lnTo>
                        <a:pt x="236" y="543"/>
                      </a:lnTo>
                      <a:lnTo>
                        <a:pt x="222" y="540"/>
                      </a:lnTo>
                      <a:lnTo>
                        <a:pt x="210" y="533"/>
                      </a:lnTo>
                      <a:lnTo>
                        <a:pt x="202" y="522"/>
                      </a:lnTo>
                      <a:lnTo>
                        <a:pt x="3" y="42"/>
                      </a:lnTo>
                      <a:lnTo>
                        <a:pt x="0" y="32"/>
                      </a:lnTo>
                      <a:lnTo>
                        <a:pt x="2" y="23"/>
                      </a:lnTo>
                      <a:lnTo>
                        <a:pt x="7" y="14"/>
                      </a:lnTo>
                      <a:lnTo>
                        <a:pt x="15" y="7"/>
                      </a:lnTo>
                      <a:lnTo>
                        <a:pt x="25" y="3"/>
                      </a:lnTo>
                      <a:lnTo>
                        <a:pt x="3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5" name="Freeform 7"/>
                <p:cNvSpPr>
                  <a:spLocks noEditPoints="1"/>
                </p:cNvSpPr>
                <p:nvPr/>
              </p:nvSpPr>
              <p:spPr bwMode="auto">
                <a:xfrm>
                  <a:off x="5397500" y="2312988"/>
                  <a:ext cx="1262063" cy="454025"/>
                </a:xfrm>
                <a:custGeom>
                  <a:avLst/>
                  <a:gdLst>
                    <a:gd name="T0" fmla="*/ 2335 w 3180"/>
                    <a:gd name="T1" fmla="*/ 504 h 1144"/>
                    <a:gd name="T2" fmla="*/ 2405 w 3180"/>
                    <a:gd name="T3" fmla="*/ 635 h 1144"/>
                    <a:gd name="T4" fmla="*/ 2498 w 3180"/>
                    <a:gd name="T5" fmla="*/ 581 h 1144"/>
                    <a:gd name="T6" fmla="*/ 2367 w 3180"/>
                    <a:gd name="T7" fmla="*/ 485 h 1144"/>
                    <a:gd name="T8" fmla="*/ 885 w 3180"/>
                    <a:gd name="T9" fmla="*/ 443 h 1144"/>
                    <a:gd name="T10" fmla="*/ 749 w 3180"/>
                    <a:gd name="T11" fmla="*/ 532 h 1144"/>
                    <a:gd name="T12" fmla="*/ 623 w 3180"/>
                    <a:gd name="T13" fmla="*/ 635 h 1144"/>
                    <a:gd name="T14" fmla="*/ 810 w 3180"/>
                    <a:gd name="T15" fmla="*/ 568 h 1144"/>
                    <a:gd name="T16" fmla="*/ 885 w 3180"/>
                    <a:gd name="T17" fmla="*/ 443 h 1144"/>
                    <a:gd name="T18" fmla="*/ 1536 w 3180"/>
                    <a:gd name="T19" fmla="*/ 258 h 1144"/>
                    <a:gd name="T20" fmla="*/ 1431 w 3180"/>
                    <a:gd name="T21" fmla="*/ 286 h 1144"/>
                    <a:gd name="T22" fmla="*/ 1332 w 3180"/>
                    <a:gd name="T23" fmla="*/ 340 h 1144"/>
                    <a:gd name="T24" fmla="*/ 1236 w 3180"/>
                    <a:gd name="T25" fmla="*/ 417 h 1144"/>
                    <a:gd name="T26" fmla="*/ 1148 w 3180"/>
                    <a:gd name="T27" fmla="*/ 517 h 1144"/>
                    <a:gd name="T28" fmla="*/ 1069 w 3180"/>
                    <a:gd name="T29" fmla="*/ 635 h 1144"/>
                    <a:gd name="T30" fmla="*/ 2074 w 3180"/>
                    <a:gd name="T31" fmla="*/ 574 h 1144"/>
                    <a:gd name="T32" fmla="*/ 1990 w 3180"/>
                    <a:gd name="T33" fmla="*/ 464 h 1144"/>
                    <a:gd name="T34" fmla="*/ 1899 w 3180"/>
                    <a:gd name="T35" fmla="*/ 376 h 1144"/>
                    <a:gd name="T36" fmla="*/ 1801 w 3180"/>
                    <a:gd name="T37" fmla="*/ 309 h 1144"/>
                    <a:gd name="T38" fmla="*/ 1698 w 3180"/>
                    <a:gd name="T39" fmla="*/ 269 h 1144"/>
                    <a:gd name="T40" fmla="*/ 1591 w 3180"/>
                    <a:gd name="T41" fmla="*/ 254 h 1144"/>
                    <a:gd name="T42" fmla="*/ 1591 w 3180"/>
                    <a:gd name="T43" fmla="*/ 0 h 1144"/>
                    <a:gd name="T44" fmla="*/ 1800 w 3180"/>
                    <a:gd name="T45" fmla="*/ 12 h 1144"/>
                    <a:gd name="T46" fmla="*/ 2000 w 3180"/>
                    <a:gd name="T47" fmla="*/ 50 h 1144"/>
                    <a:gd name="T48" fmla="*/ 2193 w 3180"/>
                    <a:gd name="T49" fmla="*/ 111 h 1144"/>
                    <a:gd name="T50" fmla="*/ 2374 w 3180"/>
                    <a:gd name="T51" fmla="*/ 193 h 1144"/>
                    <a:gd name="T52" fmla="*/ 2543 w 3180"/>
                    <a:gd name="T53" fmla="*/ 294 h 1144"/>
                    <a:gd name="T54" fmla="*/ 2698 w 3180"/>
                    <a:gd name="T55" fmla="*/ 415 h 1144"/>
                    <a:gd name="T56" fmla="*/ 2837 w 3180"/>
                    <a:gd name="T57" fmla="*/ 553 h 1144"/>
                    <a:gd name="T58" fmla="*/ 2960 w 3180"/>
                    <a:gd name="T59" fmla="*/ 705 h 1144"/>
                    <a:gd name="T60" fmla="*/ 3064 w 3180"/>
                    <a:gd name="T61" fmla="*/ 872 h 1144"/>
                    <a:gd name="T62" fmla="*/ 3147 w 3180"/>
                    <a:gd name="T63" fmla="*/ 1051 h 1144"/>
                    <a:gd name="T64" fmla="*/ 2908 w 3180"/>
                    <a:gd name="T65" fmla="*/ 1144 h 1144"/>
                    <a:gd name="T66" fmla="*/ 2847 w 3180"/>
                    <a:gd name="T67" fmla="*/ 1010 h 1144"/>
                    <a:gd name="T68" fmla="*/ 2773 w 3180"/>
                    <a:gd name="T69" fmla="*/ 885 h 1144"/>
                    <a:gd name="T70" fmla="*/ 2748 w 3180"/>
                    <a:gd name="T71" fmla="*/ 890 h 1144"/>
                    <a:gd name="T72" fmla="*/ 2531 w 3180"/>
                    <a:gd name="T73" fmla="*/ 972 h 1144"/>
                    <a:gd name="T74" fmla="*/ 2569 w 3180"/>
                    <a:gd name="T75" fmla="*/ 1144 h 1144"/>
                    <a:gd name="T76" fmla="*/ 2290 w 3180"/>
                    <a:gd name="T77" fmla="*/ 1078 h 1144"/>
                    <a:gd name="T78" fmla="*/ 2253 w 3180"/>
                    <a:gd name="T79" fmla="*/ 950 h 1144"/>
                    <a:gd name="T80" fmla="*/ 949 w 3180"/>
                    <a:gd name="T81" fmla="*/ 890 h 1144"/>
                    <a:gd name="T82" fmla="*/ 909 w 3180"/>
                    <a:gd name="T83" fmla="*/ 1014 h 1144"/>
                    <a:gd name="T84" fmla="*/ 877 w 3180"/>
                    <a:gd name="T85" fmla="*/ 1144 h 1144"/>
                    <a:gd name="T86" fmla="*/ 631 w 3180"/>
                    <a:gd name="T87" fmla="*/ 1057 h 1144"/>
                    <a:gd name="T88" fmla="*/ 675 w 3180"/>
                    <a:gd name="T89" fmla="*/ 890 h 1144"/>
                    <a:gd name="T90" fmla="*/ 422 w 3180"/>
                    <a:gd name="T91" fmla="*/ 888 h 1144"/>
                    <a:gd name="T92" fmla="*/ 370 w 3180"/>
                    <a:gd name="T93" fmla="*/ 947 h 1144"/>
                    <a:gd name="T94" fmla="*/ 303 w 3180"/>
                    <a:gd name="T95" fmla="*/ 1076 h 1144"/>
                    <a:gd name="T96" fmla="*/ 0 w 3180"/>
                    <a:gd name="T97" fmla="*/ 1144 h 1144"/>
                    <a:gd name="T98" fmla="*/ 73 w 3180"/>
                    <a:gd name="T99" fmla="*/ 960 h 1144"/>
                    <a:gd name="T100" fmla="*/ 168 w 3180"/>
                    <a:gd name="T101" fmla="*/ 787 h 1144"/>
                    <a:gd name="T102" fmla="*/ 281 w 3180"/>
                    <a:gd name="T103" fmla="*/ 627 h 1144"/>
                    <a:gd name="T104" fmla="*/ 412 w 3180"/>
                    <a:gd name="T105" fmla="*/ 482 h 1144"/>
                    <a:gd name="T106" fmla="*/ 560 w 3180"/>
                    <a:gd name="T107" fmla="*/ 353 h 1144"/>
                    <a:gd name="T108" fmla="*/ 722 w 3180"/>
                    <a:gd name="T109" fmla="*/ 241 h 1144"/>
                    <a:gd name="T110" fmla="*/ 896 w 3180"/>
                    <a:gd name="T111" fmla="*/ 149 h 1144"/>
                    <a:gd name="T112" fmla="*/ 1084 w 3180"/>
                    <a:gd name="T113" fmla="*/ 77 h 1144"/>
                    <a:gd name="T114" fmla="*/ 1280 w 3180"/>
                    <a:gd name="T115" fmla="*/ 28 h 1144"/>
                    <a:gd name="T116" fmla="*/ 1486 w 3180"/>
                    <a:gd name="T117" fmla="*/ 3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296" y="443"/>
                      </a:moveTo>
                      <a:lnTo>
                        <a:pt x="2335" y="504"/>
                      </a:lnTo>
                      <a:lnTo>
                        <a:pt x="2372" y="568"/>
                      </a:lnTo>
                      <a:lnTo>
                        <a:pt x="2405" y="635"/>
                      </a:lnTo>
                      <a:lnTo>
                        <a:pt x="2559" y="635"/>
                      </a:lnTo>
                      <a:lnTo>
                        <a:pt x="2498" y="581"/>
                      </a:lnTo>
                      <a:lnTo>
                        <a:pt x="2433" y="532"/>
                      </a:lnTo>
                      <a:lnTo>
                        <a:pt x="2367" y="485"/>
                      </a:lnTo>
                      <a:lnTo>
                        <a:pt x="2296" y="443"/>
                      </a:lnTo>
                      <a:close/>
                      <a:moveTo>
                        <a:pt x="885" y="443"/>
                      </a:moveTo>
                      <a:lnTo>
                        <a:pt x="815" y="485"/>
                      </a:lnTo>
                      <a:lnTo>
                        <a:pt x="749" y="532"/>
                      </a:lnTo>
                      <a:lnTo>
                        <a:pt x="684" y="581"/>
                      </a:lnTo>
                      <a:lnTo>
                        <a:pt x="623" y="635"/>
                      </a:lnTo>
                      <a:lnTo>
                        <a:pt x="775" y="635"/>
                      </a:lnTo>
                      <a:lnTo>
                        <a:pt x="810" y="568"/>
                      </a:lnTo>
                      <a:lnTo>
                        <a:pt x="846" y="504"/>
                      </a:lnTo>
                      <a:lnTo>
                        <a:pt x="885" y="443"/>
                      </a:lnTo>
                      <a:close/>
                      <a:moveTo>
                        <a:pt x="1591" y="254"/>
                      </a:moveTo>
                      <a:lnTo>
                        <a:pt x="1536" y="258"/>
                      </a:lnTo>
                      <a:lnTo>
                        <a:pt x="1484" y="269"/>
                      </a:lnTo>
                      <a:lnTo>
                        <a:pt x="1431" y="286"/>
                      </a:lnTo>
                      <a:lnTo>
                        <a:pt x="1381" y="309"/>
                      </a:lnTo>
                      <a:lnTo>
                        <a:pt x="1332" y="340"/>
                      </a:lnTo>
                      <a:lnTo>
                        <a:pt x="1283" y="376"/>
                      </a:lnTo>
                      <a:lnTo>
                        <a:pt x="1236" y="417"/>
                      </a:lnTo>
                      <a:lnTo>
                        <a:pt x="1191" y="464"/>
                      </a:lnTo>
                      <a:lnTo>
                        <a:pt x="1148" y="517"/>
                      </a:lnTo>
                      <a:lnTo>
                        <a:pt x="1108" y="574"/>
                      </a:lnTo>
                      <a:lnTo>
                        <a:pt x="1069" y="635"/>
                      </a:lnTo>
                      <a:lnTo>
                        <a:pt x="2113" y="635"/>
                      </a:lnTo>
                      <a:lnTo>
                        <a:pt x="2074" y="574"/>
                      </a:lnTo>
                      <a:lnTo>
                        <a:pt x="2034" y="517"/>
                      </a:lnTo>
                      <a:lnTo>
                        <a:pt x="1990" y="464"/>
                      </a:lnTo>
                      <a:lnTo>
                        <a:pt x="1946" y="417"/>
                      </a:lnTo>
                      <a:lnTo>
                        <a:pt x="1899" y="376"/>
                      </a:lnTo>
                      <a:lnTo>
                        <a:pt x="1850" y="340"/>
                      </a:lnTo>
                      <a:lnTo>
                        <a:pt x="1801" y="309"/>
                      </a:lnTo>
                      <a:lnTo>
                        <a:pt x="1750" y="286"/>
                      </a:lnTo>
                      <a:lnTo>
                        <a:pt x="1698" y="269"/>
                      </a:lnTo>
                      <a:lnTo>
                        <a:pt x="1645" y="258"/>
                      </a:lnTo>
                      <a:lnTo>
                        <a:pt x="1591" y="254"/>
                      </a:lnTo>
                      <a:close/>
                      <a:moveTo>
                        <a:pt x="1591" y="0"/>
                      </a:moveTo>
                      <a:lnTo>
                        <a:pt x="1591" y="0"/>
                      </a:lnTo>
                      <a:lnTo>
                        <a:pt x="1696" y="3"/>
                      </a:lnTo>
                      <a:lnTo>
                        <a:pt x="1800" y="12"/>
                      </a:lnTo>
                      <a:lnTo>
                        <a:pt x="1902" y="28"/>
                      </a:lnTo>
                      <a:lnTo>
                        <a:pt x="2000" y="50"/>
                      </a:lnTo>
                      <a:lnTo>
                        <a:pt x="2098" y="77"/>
                      </a:lnTo>
                      <a:lnTo>
                        <a:pt x="2193" y="111"/>
                      </a:lnTo>
                      <a:lnTo>
                        <a:pt x="2284" y="149"/>
                      </a:lnTo>
                      <a:lnTo>
                        <a:pt x="2374" y="193"/>
                      </a:lnTo>
                      <a:lnTo>
                        <a:pt x="2460" y="241"/>
                      </a:lnTo>
                      <a:lnTo>
                        <a:pt x="2543" y="294"/>
                      </a:lnTo>
                      <a:lnTo>
                        <a:pt x="2622" y="353"/>
                      </a:lnTo>
                      <a:lnTo>
                        <a:pt x="2698" y="415"/>
                      </a:lnTo>
                      <a:lnTo>
                        <a:pt x="2770" y="482"/>
                      </a:lnTo>
                      <a:lnTo>
                        <a:pt x="2837" y="553"/>
                      </a:lnTo>
                      <a:lnTo>
                        <a:pt x="2901" y="627"/>
                      </a:lnTo>
                      <a:lnTo>
                        <a:pt x="2960" y="705"/>
                      </a:lnTo>
                      <a:lnTo>
                        <a:pt x="3014" y="787"/>
                      </a:lnTo>
                      <a:lnTo>
                        <a:pt x="3064" y="872"/>
                      </a:lnTo>
                      <a:lnTo>
                        <a:pt x="3107" y="960"/>
                      </a:lnTo>
                      <a:lnTo>
                        <a:pt x="3147" y="1051"/>
                      </a:lnTo>
                      <a:lnTo>
                        <a:pt x="3180" y="1144"/>
                      </a:lnTo>
                      <a:lnTo>
                        <a:pt x="2908" y="1144"/>
                      </a:lnTo>
                      <a:lnTo>
                        <a:pt x="2879" y="1076"/>
                      </a:lnTo>
                      <a:lnTo>
                        <a:pt x="2847" y="1010"/>
                      </a:lnTo>
                      <a:lnTo>
                        <a:pt x="2812" y="947"/>
                      </a:lnTo>
                      <a:lnTo>
                        <a:pt x="2773" y="885"/>
                      </a:lnTo>
                      <a:lnTo>
                        <a:pt x="2760" y="888"/>
                      </a:lnTo>
                      <a:lnTo>
                        <a:pt x="2748" y="890"/>
                      </a:lnTo>
                      <a:lnTo>
                        <a:pt x="2507" y="890"/>
                      </a:lnTo>
                      <a:lnTo>
                        <a:pt x="2531" y="972"/>
                      </a:lnTo>
                      <a:lnTo>
                        <a:pt x="2551" y="1057"/>
                      </a:lnTo>
                      <a:lnTo>
                        <a:pt x="2569" y="1144"/>
                      </a:lnTo>
                      <a:lnTo>
                        <a:pt x="2306" y="1144"/>
                      </a:lnTo>
                      <a:lnTo>
                        <a:pt x="2290" y="1078"/>
                      </a:lnTo>
                      <a:lnTo>
                        <a:pt x="2273" y="1014"/>
                      </a:lnTo>
                      <a:lnTo>
                        <a:pt x="2253" y="950"/>
                      </a:lnTo>
                      <a:lnTo>
                        <a:pt x="2233" y="890"/>
                      </a:lnTo>
                      <a:lnTo>
                        <a:pt x="949" y="890"/>
                      </a:lnTo>
                      <a:lnTo>
                        <a:pt x="928" y="950"/>
                      </a:lnTo>
                      <a:lnTo>
                        <a:pt x="909" y="1014"/>
                      </a:lnTo>
                      <a:lnTo>
                        <a:pt x="892" y="1078"/>
                      </a:lnTo>
                      <a:lnTo>
                        <a:pt x="877" y="1144"/>
                      </a:lnTo>
                      <a:lnTo>
                        <a:pt x="612" y="1144"/>
                      </a:lnTo>
                      <a:lnTo>
                        <a:pt x="631" y="1057"/>
                      </a:lnTo>
                      <a:lnTo>
                        <a:pt x="651" y="972"/>
                      </a:lnTo>
                      <a:lnTo>
                        <a:pt x="675" y="890"/>
                      </a:lnTo>
                      <a:lnTo>
                        <a:pt x="433" y="890"/>
                      </a:lnTo>
                      <a:lnTo>
                        <a:pt x="422" y="888"/>
                      </a:lnTo>
                      <a:lnTo>
                        <a:pt x="410" y="885"/>
                      </a:lnTo>
                      <a:lnTo>
                        <a:pt x="370" y="947"/>
                      </a:lnTo>
                      <a:lnTo>
                        <a:pt x="335" y="1010"/>
                      </a:lnTo>
                      <a:lnTo>
                        <a:pt x="303" y="1076"/>
                      </a:lnTo>
                      <a:lnTo>
                        <a:pt x="274" y="1144"/>
                      </a:lnTo>
                      <a:lnTo>
                        <a:pt x="0" y="1144"/>
                      </a:lnTo>
                      <a:lnTo>
                        <a:pt x="35" y="1051"/>
                      </a:lnTo>
                      <a:lnTo>
                        <a:pt x="73" y="960"/>
                      </a:lnTo>
                      <a:lnTo>
                        <a:pt x="118" y="872"/>
                      </a:lnTo>
                      <a:lnTo>
                        <a:pt x="168" y="787"/>
                      </a:lnTo>
                      <a:lnTo>
                        <a:pt x="222" y="705"/>
                      </a:lnTo>
                      <a:lnTo>
                        <a:pt x="281" y="627"/>
                      </a:lnTo>
                      <a:lnTo>
                        <a:pt x="344" y="553"/>
                      </a:lnTo>
                      <a:lnTo>
                        <a:pt x="412" y="482"/>
                      </a:lnTo>
                      <a:lnTo>
                        <a:pt x="484" y="415"/>
                      </a:lnTo>
                      <a:lnTo>
                        <a:pt x="560" y="353"/>
                      </a:lnTo>
                      <a:lnTo>
                        <a:pt x="639" y="294"/>
                      </a:lnTo>
                      <a:lnTo>
                        <a:pt x="722" y="241"/>
                      </a:lnTo>
                      <a:lnTo>
                        <a:pt x="807" y="193"/>
                      </a:lnTo>
                      <a:lnTo>
                        <a:pt x="896" y="149"/>
                      </a:lnTo>
                      <a:lnTo>
                        <a:pt x="989" y="111"/>
                      </a:lnTo>
                      <a:lnTo>
                        <a:pt x="1084" y="77"/>
                      </a:lnTo>
                      <a:lnTo>
                        <a:pt x="1180" y="50"/>
                      </a:lnTo>
                      <a:lnTo>
                        <a:pt x="1280" y="28"/>
                      </a:lnTo>
                      <a:lnTo>
                        <a:pt x="1382" y="12"/>
                      </a:lnTo>
                      <a:lnTo>
                        <a:pt x="1486" y="3"/>
                      </a:lnTo>
                      <a:lnTo>
                        <a:pt x="159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sp>
              <p:nvSpPr>
                <p:cNvPr id="16" name="Freeform 8"/>
                <p:cNvSpPr>
                  <a:spLocks noEditPoints="1"/>
                </p:cNvSpPr>
                <p:nvPr/>
              </p:nvSpPr>
              <p:spPr bwMode="auto">
                <a:xfrm>
                  <a:off x="5397500" y="3170238"/>
                  <a:ext cx="1262063" cy="454025"/>
                </a:xfrm>
                <a:custGeom>
                  <a:avLst/>
                  <a:gdLst>
                    <a:gd name="T0" fmla="*/ 2372 w 3180"/>
                    <a:gd name="T1" fmla="*/ 576 h 1144"/>
                    <a:gd name="T2" fmla="*/ 2296 w 3180"/>
                    <a:gd name="T3" fmla="*/ 701 h 1144"/>
                    <a:gd name="T4" fmla="*/ 2433 w 3180"/>
                    <a:gd name="T5" fmla="*/ 612 h 1144"/>
                    <a:gd name="T6" fmla="*/ 2559 w 3180"/>
                    <a:gd name="T7" fmla="*/ 508 h 1144"/>
                    <a:gd name="T8" fmla="*/ 1069 w 3180"/>
                    <a:gd name="T9" fmla="*/ 508 h 1144"/>
                    <a:gd name="T10" fmla="*/ 1148 w 3180"/>
                    <a:gd name="T11" fmla="*/ 627 h 1144"/>
                    <a:gd name="T12" fmla="*/ 1236 w 3180"/>
                    <a:gd name="T13" fmla="*/ 727 h 1144"/>
                    <a:gd name="T14" fmla="*/ 1332 w 3180"/>
                    <a:gd name="T15" fmla="*/ 804 h 1144"/>
                    <a:gd name="T16" fmla="*/ 1431 w 3180"/>
                    <a:gd name="T17" fmla="*/ 858 h 1144"/>
                    <a:gd name="T18" fmla="*/ 1536 w 3180"/>
                    <a:gd name="T19" fmla="*/ 886 h 1144"/>
                    <a:gd name="T20" fmla="*/ 1645 w 3180"/>
                    <a:gd name="T21" fmla="*/ 886 h 1144"/>
                    <a:gd name="T22" fmla="*/ 1750 w 3180"/>
                    <a:gd name="T23" fmla="*/ 858 h 1144"/>
                    <a:gd name="T24" fmla="*/ 1850 w 3180"/>
                    <a:gd name="T25" fmla="*/ 804 h 1144"/>
                    <a:gd name="T26" fmla="*/ 1946 w 3180"/>
                    <a:gd name="T27" fmla="*/ 727 h 1144"/>
                    <a:gd name="T28" fmla="*/ 2034 w 3180"/>
                    <a:gd name="T29" fmla="*/ 627 h 1144"/>
                    <a:gd name="T30" fmla="*/ 2113 w 3180"/>
                    <a:gd name="T31" fmla="*/ 508 h 1144"/>
                    <a:gd name="T32" fmla="*/ 623 w 3180"/>
                    <a:gd name="T33" fmla="*/ 508 h 1144"/>
                    <a:gd name="T34" fmla="*/ 749 w 3180"/>
                    <a:gd name="T35" fmla="*/ 612 h 1144"/>
                    <a:gd name="T36" fmla="*/ 885 w 3180"/>
                    <a:gd name="T37" fmla="*/ 701 h 1144"/>
                    <a:gd name="T38" fmla="*/ 810 w 3180"/>
                    <a:gd name="T39" fmla="*/ 576 h 1144"/>
                    <a:gd name="T40" fmla="*/ 623 w 3180"/>
                    <a:gd name="T41" fmla="*/ 508 h 1144"/>
                    <a:gd name="T42" fmla="*/ 274 w 3180"/>
                    <a:gd name="T43" fmla="*/ 0 h 1144"/>
                    <a:gd name="T44" fmla="*/ 335 w 3180"/>
                    <a:gd name="T45" fmla="*/ 133 h 1144"/>
                    <a:gd name="T46" fmla="*/ 410 w 3180"/>
                    <a:gd name="T47" fmla="*/ 259 h 1144"/>
                    <a:gd name="T48" fmla="*/ 433 w 3180"/>
                    <a:gd name="T49" fmla="*/ 254 h 1144"/>
                    <a:gd name="T50" fmla="*/ 652 w 3180"/>
                    <a:gd name="T51" fmla="*/ 172 h 1144"/>
                    <a:gd name="T52" fmla="*/ 612 w 3180"/>
                    <a:gd name="T53" fmla="*/ 0 h 1144"/>
                    <a:gd name="T54" fmla="*/ 892 w 3180"/>
                    <a:gd name="T55" fmla="*/ 67 h 1144"/>
                    <a:gd name="T56" fmla="*/ 928 w 3180"/>
                    <a:gd name="T57" fmla="*/ 194 h 1144"/>
                    <a:gd name="T58" fmla="*/ 2233 w 3180"/>
                    <a:gd name="T59" fmla="*/ 254 h 1144"/>
                    <a:gd name="T60" fmla="*/ 2273 w 3180"/>
                    <a:gd name="T61" fmla="*/ 131 h 1144"/>
                    <a:gd name="T62" fmla="*/ 2306 w 3180"/>
                    <a:gd name="T63" fmla="*/ 0 h 1144"/>
                    <a:gd name="T64" fmla="*/ 2551 w 3180"/>
                    <a:gd name="T65" fmla="*/ 87 h 1144"/>
                    <a:gd name="T66" fmla="*/ 2506 w 3180"/>
                    <a:gd name="T67" fmla="*/ 254 h 1144"/>
                    <a:gd name="T68" fmla="*/ 2760 w 3180"/>
                    <a:gd name="T69" fmla="*/ 256 h 1144"/>
                    <a:gd name="T70" fmla="*/ 2811 w 3180"/>
                    <a:gd name="T71" fmla="*/ 197 h 1144"/>
                    <a:gd name="T72" fmla="*/ 2879 w 3180"/>
                    <a:gd name="T73" fmla="*/ 68 h 1144"/>
                    <a:gd name="T74" fmla="*/ 3180 w 3180"/>
                    <a:gd name="T75" fmla="*/ 0 h 1144"/>
                    <a:gd name="T76" fmla="*/ 3107 w 3180"/>
                    <a:gd name="T77" fmla="*/ 184 h 1144"/>
                    <a:gd name="T78" fmla="*/ 3014 w 3180"/>
                    <a:gd name="T79" fmla="*/ 357 h 1144"/>
                    <a:gd name="T80" fmla="*/ 2901 w 3180"/>
                    <a:gd name="T81" fmla="*/ 517 h 1144"/>
                    <a:gd name="T82" fmla="*/ 2770 w 3180"/>
                    <a:gd name="T83" fmla="*/ 662 h 1144"/>
                    <a:gd name="T84" fmla="*/ 2622 w 3180"/>
                    <a:gd name="T85" fmla="*/ 791 h 1144"/>
                    <a:gd name="T86" fmla="*/ 2460 w 3180"/>
                    <a:gd name="T87" fmla="*/ 903 h 1144"/>
                    <a:gd name="T88" fmla="*/ 2284 w 3180"/>
                    <a:gd name="T89" fmla="*/ 995 h 1144"/>
                    <a:gd name="T90" fmla="*/ 2098 w 3180"/>
                    <a:gd name="T91" fmla="*/ 1067 h 1144"/>
                    <a:gd name="T92" fmla="*/ 1902 w 3180"/>
                    <a:gd name="T93" fmla="*/ 1115 h 1144"/>
                    <a:gd name="T94" fmla="*/ 1696 w 3180"/>
                    <a:gd name="T95" fmla="*/ 1141 h 1144"/>
                    <a:gd name="T96" fmla="*/ 1486 w 3180"/>
                    <a:gd name="T97" fmla="*/ 1141 h 1144"/>
                    <a:gd name="T98" fmla="*/ 1280 w 3180"/>
                    <a:gd name="T99" fmla="*/ 1115 h 1144"/>
                    <a:gd name="T100" fmla="*/ 1084 w 3180"/>
                    <a:gd name="T101" fmla="*/ 1067 h 1144"/>
                    <a:gd name="T102" fmla="*/ 896 w 3180"/>
                    <a:gd name="T103" fmla="*/ 995 h 1144"/>
                    <a:gd name="T104" fmla="*/ 722 w 3180"/>
                    <a:gd name="T105" fmla="*/ 903 h 1144"/>
                    <a:gd name="T106" fmla="*/ 560 w 3180"/>
                    <a:gd name="T107" fmla="*/ 791 h 1144"/>
                    <a:gd name="T108" fmla="*/ 412 w 3180"/>
                    <a:gd name="T109" fmla="*/ 662 h 1144"/>
                    <a:gd name="T110" fmla="*/ 281 w 3180"/>
                    <a:gd name="T111" fmla="*/ 517 h 1144"/>
                    <a:gd name="T112" fmla="*/ 168 w 3180"/>
                    <a:gd name="T113" fmla="*/ 357 h 1144"/>
                    <a:gd name="T114" fmla="*/ 73 w 3180"/>
                    <a:gd name="T115" fmla="*/ 184 h 1144"/>
                    <a:gd name="T116" fmla="*/ 0 w 3180"/>
                    <a:gd name="T117"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0" h="1144">
                      <a:moveTo>
                        <a:pt x="2407" y="508"/>
                      </a:moveTo>
                      <a:lnTo>
                        <a:pt x="2372" y="576"/>
                      </a:lnTo>
                      <a:lnTo>
                        <a:pt x="2336" y="641"/>
                      </a:lnTo>
                      <a:lnTo>
                        <a:pt x="2296" y="701"/>
                      </a:lnTo>
                      <a:lnTo>
                        <a:pt x="2367" y="659"/>
                      </a:lnTo>
                      <a:lnTo>
                        <a:pt x="2433" y="612"/>
                      </a:lnTo>
                      <a:lnTo>
                        <a:pt x="2498" y="562"/>
                      </a:lnTo>
                      <a:lnTo>
                        <a:pt x="2559" y="508"/>
                      </a:lnTo>
                      <a:lnTo>
                        <a:pt x="2407" y="508"/>
                      </a:lnTo>
                      <a:close/>
                      <a:moveTo>
                        <a:pt x="1069" y="508"/>
                      </a:moveTo>
                      <a:lnTo>
                        <a:pt x="1108" y="570"/>
                      </a:lnTo>
                      <a:lnTo>
                        <a:pt x="1148" y="627"/>
                      </a:lnTo>
                      <a:lnTo>
                        <a:pt x="1191" y="680"/>
                      </a:lnTo>
                      <a:lnTo>
                        <a:pt x="1236" y="727"/>
                      </a:lnTo>
                      <a:lnTo>
                        <a:pt x="1283" y="768"/>
                      </a:lnTo>
                      <a:lnTo>
                        <a:pt x="1332" y="804"/>
                      </a:lnTo>
                      <a:lnTo>
                        <a:pt x="1381" y="835"/>
                      </a:lnTo>
                      <a:lnTo>
                        <a:pt x="1431" y="858"/>
                      </a:lnTo>
                      <a:lnTo>
                        <a:pt x="1484" y="875"/>
                      </a:lnTo>
                      <a:lnTo>
                        <a:pt x="1536" y="886"/>
                      </a:lnTo>
                      <a:lnTo>
                        <a:pt x="1591" y="890"/>
                      </a:lnTo>
                      <a:lnTo>
                        <a:pt x="1645" y="886"/>
                      </a:lnTo>
                      <a:lnTo>
                        <a:pt x="1698" y="875"/>
                      </a:lnTo>
                      <a:lnTo>
                        <a:pt x="1750" y="858"/>
                      </a:lnTo>
                      <a:lnTo>
                        <a:pt x="1801" y="835"/>
                      </a:lnTo>
                      <a:lnTo>
                        <a:pt x="1850" y="804"/>
                      </a:lnTo>
                      <a:lnTo>
                        <a:pt x="1899" y="768"/>
                      </a:lnTo>
                      <a:lnTo>
                        <a:pt x="1946" y="727"/>
                      </a:lnTo>
                      <a:lnTo>
                        <a:pt x="1990" y="680"/>
                      </a:lnTo>
                      <a:lnTo>
                        <a:pt x="2034" y="627"/>
                      </a:lnTo>
                      <a:lnTo>
                        <a:pt x="2074" y="570"/>
                      </a:lnTo>
                      <a:lnTo>
                        <a:pt x="2113" y="508"/>
                      </a:lnTo>
                      <a:lnTo>
                        <a:pt x="1069" y="508"/>
                      </a:lnTo>
                      <a:close/>
                      <a:moveTo>
                        <a:pt x="623" y="508"/>
                      </a:moveTo>
                      <a:lnTo>
                        <a:pt x="684" y="562"/>
                      </a:lnTo>
                      <a:lnTo>
                        <a:pt x="749" y="612"/>
                      </a:lnTo>
                      <a:lnTo>
                        <a:pt x="815" y="659"/>
                      </a:lnTo>
                      <a:lnTo>
                        <a:pt x="885" y="701"/>
                      </a:lnTo>
                      <a:lnTo>
                        <a:pt x="846" y="641"/>
                      </a:lnTo>
                      <a:lnTo>
                        <a:pt x="810" y="576"/>
                      </a:lnTo>
                      <a:lnTo>
                        <a:pt x="775" y="508"/>
                      </a:lnTo>
                      <a:lnTo>
                        <a:pt x="623" y="508"/>
                      </a:lnTo>
                      <a:close/>
                      <a:moveTo>
                        <a:pt x="0" y="0"/>
                      </a:moveTo>
                      <a:lnTo>
                        <a:pt x="274" y="0"/>
                      </a:lnTo>
                      <a:lnTo>
                        <a:pt x="303" y="68"/>
                      </a:lnTo>
                      <a:lnTo>
                        <a:pt x="335" y="133"/>
                      </a:lnTo>
                      <a:lnTo>
                        <a:pt x="371" y="197"/>
                      </a:lnTo>
                      <a:lnTo>
                        <a:pt x="410" y="259"/>
                      </a:lnTo>
                      <a:lnTo>
                        <a:pt x="422" y="256"/>
                      </a:lnTo>
                      <a:lnTo>
                        <a:pt x="433" y="254"/>
                      </a:lnTo>
                      <a:lnTo>
                        <a:pt x="675" y="254"/>
                      </a:lnTo>
                      <a:lnTo>
                        <a:pt x="652" y="172"/>
                      </a:lnTo>
                      <a:lnTo>
                        <a:pt x="631" y="87"/>
                      </a:lnTo>
                      <a:lnTo>
                        <a:pt x="612" y="0"/>
                      </a:lnTo>
                      <a:lnTo>
                        <a:pt x="877" y="0"/>
                      </a:lnTo>
                      <a:lnTo>
                        <a:pt x="892" y="67"/>
                      </a:lnTo>
                      <a:lnTo>
                        <a:pt x="909" y="131"/>
                      </a:lnTo>
                      <a:lnTo>
                        <a:pt x="928" y="194"/>
                      </a:lnTo>
                      <a:lnTo>
                        <a:pt x="949" y="254"/>
                      </a:lnTo>
                      <a:lnTo>
                        <a:pt x="2233" y="254"/>
                      </a:lnTo>
                      <a:lnTo>
                        <a:pt x="2253" y="194"/>
                      </a:lnTo>
                      <a:lnTo>
                        <a:pt x="2273" y="131"/>
                      </a:lnTo>
                      <a:lnTo>
                        <a:pt x="2290" y="67"/>
                      </a:lnTo>
                      <a:lnTo>
                        <a:pt x="2306" y="0"/>
                      </a:lnTo>
                      <a:lnTo>
                        <a:pt x="2569" y="0"/>
                      </a:lnTo>
                      <a:lnTo>
                        <a:pt x="2551" y="87"/>
                      </a:lnTo>
                      <a:lnTo>
                        <a:pt x="2530" y="172"/>
                      </a:lnTo>
                      <a:lnTo>
                        <a:pt x="2506" y="254"/>
                      </a:lnTo>
                      <a:lnTo>
                        <a:pt x="2748" y="254"/>
                      </a:lnTo>
                      <a:lnTo>
                        <a:pt x="2760" y="256"/>
                      </a:lnTo>
                      <a:lnTo>
                        <a:pt x="2772" y="259"/>
                      </a:lnTo>
                      <a:lnTo>
                        <a:pt x="2811" y="197"/>
                      </a:lnTo>
                      <a:lnTo>
                        <a:pt x="2847" y="133"/>
                      </a:lnTo>
                      <a:lnTo>
                        <a:pt x="2879" y="68"/>
                      </a:lnTo>
                      <a:lnTo>
                        <a:pt x="2908" y="0"/>
                      </a:lnTo>
                      <a:lnTo>
                        <a:pt x="3180" y="0"/>
                      </a:lnTo>
                      <a:lnTo>
                        <a:pt x="3147" y="93"/>
                      </a:lnTo>
                      <a:lnTo>
                        <a:pt x="3107" y="184"/>
                      </a:lnTo>
                      <a:lnTo>
                        <a:pt x="3064" y="272"/>
                      </a:lnTo>
                      <a:lnTo>
                        <a:pt x="3014" y="357"/>
                      </a:lnTo>
                      <a:lnTo>
                        <a:pt x="2960" y="439"/>
                      </a:lnTo>
                      <a:lnTo>
                        <a:pt x="2901" y="517"/>
                      </a:lnTo>
                      <a:lnTo>
                        <a:pt x="2837" y="591"/>
                      </a:lnTo>
                      <a:lnTo>
                        <a:pt x="2770" y="662"/>
                      </a:lnTo>
                      <a:lnTo>
                        <a:pt x="2698" y="729"/>
                      </a:lnTo>
                      <a:lnTo>
                        <a:pt x="2622" y="791"/>
                      </a:lnTo>
                      <a:lnTo>
                        <a:pt x="2543" y="850"/>
                      </a:lnTo>
                      <a:lnTo>
                        <a:pt x="2460" y="903"/>
                      </a:lnTo>
                      <a:lnTo>
                        <a:pt x="2374" y="951"/>
                      </a:lnTo>
                      <a:lnTo>
                        <a:pt x="2284" y="995"/>
                      </a:lnTo>
                      <a:lnTo>
                        <a:pt x="2193" y="1034"/>
                      </a:lnTo>
                      <a:lnTo>
                        <a:pt x="2098" y="1067"/>
                      </a:lnTo>
                      <a:lnTo>
                        <a:pt x="2000" y="1094"/>
                      </a:lnTo>
                      <a:lnTo>
                        <a:pt x="1902" y="1115"/>
                      </a:lnTo>
                      <a:lnTo>
                        <a:pt x="1800" y="1131"/>
                      </a:lnTo>
                      <a:lnTo>
                        <a:pt x="1696" y="1141"/>
                      </a:lnTo>
                      <a:lnTo>
                        <a:pt x="1591" y="1144"/>
                      </a:lnTo>
                      <a:lnTo>
                        <a:pt x="1486" y="1141"/>
                      </a:lnTo>
                      <a:lnTo>
                        <a:pt x="1382" y="1131"/>
                      </a:lnTo>
                      <a:lnTo>
                        <a:pt x="1280" y="1115"/>
                      </a:lnTo>
                      <a:lnTo>
                        <a:pt x="1180" y="1094"/>
                      </a:lnTo>
                      <a:lnTo>
                        <a:pt x="1084" y="1067"/>
                      </a:lnTo>
                      <a:lnTo>
                        <a:pt x="989" y="1034"/>
                      </a:lnTo>
                      <a:lnTo>
                        <a:pt x="896" y="995"/>
                      </a:lnTo>
                      <a:lnTo>
                        <a:pt x="807" y="951"/>
                      </a:lnTo>
                      <a:lnTo>
                        <a:pt x="722" y="903"/>
                      </a:lnTo>
                      <a:lnTo>
                        <a:pt x="639" y="850"/>
                      </a:lnTo>
                      <a:lnTo>
                        <a:pt x="560" y="791"/>
                      </a:lnTo>
                      <a:lnTo>
                        <a:pt x="484" y="729"/>
                      </a:lnTo>
                      <a:lnTo>
                        <a:pt x="412" y="662"/>
                      </a:lnTo>
                      <a:lnTo>
                        <a:pt x="344" y="591"/>
                      </a:lnTo>
                      <a:lnTo>
                        <a:pt x="281" y="517"/>
                      </a:lnTo>
                      <a:lnTo>
                        <a:pt x="222" y="439"/>
                      </a:lnTo>
                      <a:lnTo>
                        <a:pt x="168" y="357"/>
                      </a:lnTo>
                      <a:lnTo>
                        <a:pt x="118" y="272"/>
                      </a:lnTo>
                      <a:lnTo>
                        <a:pt x="73" y="184"/>
                      </a:lnTo>
                      <a:lnTo>
                        <a:pt x="35" y="9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IN" sz="1350" dirty="0">
                    <a:solidFill>
                      <a:schemeClr val="bg1"/>
                    </a:solidFill>
                  </a:endParaRPr>
                </a:p>
              </p:txBody>
            </p:sp>
          </p:grpSp>
        </p:grpSp>
      </p:grpSp>
      <p:grpSp>
        <p:nvGrpSpPr>
          <p:cNvPr id="34" name="Group 33">
            <a:extLst>
              <a:ext uri="{FF2B5EF4-FFF2-40B4-BE49-F238E27FC236}">
                <a16:creationId xmlns:a16="http://schemas.microsoft.com/office/drawing/2014/main" id="{E89F9083-F687-4AEE-94F1-B419A42F855C}"/>
              </a:ext>
            </a:extLst>
          </p:cNvPr>
          <p:cNvGrpSpPr/>
          <p:nvPr/>
        </p:nvGrpSpPr>
        <p:grpSpPr>
          <a:xfrm>
            <a:off x="942417" y="1733147"/>
            <a:ext cx="2155752" cy="1100913"/>
            <a:chOff x="474140" y="1335958"/>
            <a:chExt cx="2421972" cy="1236868"/>
          </a:xfrm>
        </p:grpSpPr>
        <p:sp>
          <p:nvSpPr>
            <p:cNvPr id="35" name="Rectangle 34">
              <a:extLst>
                <a:ext uri="{FF2B5EF4-FFF2-40B4-BE49-F238E27FC236}">
                  <a16:creationId xmlns:a16="http://schemas.microsoft.com/office/drawing/2014/main" id="{FAD9F746-BAEA-443D-9A58-2290F65601C2}"/>
                </a:ext>
              </a:extLst>
            </p:cNvPr>
            <p:cNvSpPr/>
            <p:nvPr/>
          </p:nvSpPr>
          <p:spPr>
            <a:xfrm rot="16200000">
              <a:off x="1744048" y="1378393"/>
              <a:ext cx="1152128" cy="1152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36" name="Isosceles Triangle 1">
              <a:extLst>
                <a:ext uri="{FF2B5EF4-FFF2-40B4-BE49-F238E27FC236}">
                  <a16:creationId xmlns:a16="http://schemas.microsoft.com/office/drawing/2014/main" id="{5EBB4A4D-D35F-470E-9152-AEBDBECA5585}"/>
                </a:ext>
              </a:extLst>
            </p:cNvPr>
            <p:cNvSpPr/>
            <p:nvPr/>
          </p:nvSpPr>
          <p:spPr>
            <a:xfrm rot="5400000">
              <a:off x="639556" y="1170542"/>
              <a:ext cx="1236868" cy="1567700"/>
            </a:xfrm>
            <a:custGeom>
              <a:avLst/>
              <a:gdLst/>
              <a:ahLst/>
              <a:cxnLst/>
              <a:rect l="l" t="t" r="r" b="b"/>
              <a:pathLst>
                <a:path w="1080000" h="1368874">
                  <a:moveTo>
                    <a:pt x="1080000" y="1368874"/>
                  </a:moveTo>
                  <a:lnTo>
                    <a:pt x="0" y="1368874"/>
                  </a:lnTo>
                  <a:lnTo>
                    <a:pt x="0" y="288874"/>
                  </a:lnTo>
                  <a:lnTo>
                    <a:pt x="372453" y="288874"/>
                  </a:lnTo>
                  <a:lnTo>
                    <a:pt x="540000" y="0"/>
                  </a:lnTo>
                  <a:lnTo>
                    <a:pt x="707547" y="288874"/>
                  </a:lnTo>
                  <a:lnTo>
                    <a:pt x="1080000" y="288874"/>
                  </a:lnTo>
                  <a:close/>
                </a:path>
              </a:pathLst>
            </a:custGeom>
            <a:solidFill>
              <a:schemeClr val="accent4"/>
            </a:solid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37" name="Rectangle 36">
            <a:extLst>
              <a:ext uri="{FF2B5EF4-FFF2-40B4-BE49-F238E27FC236}">
                <a16:creationId xmlns:a16="http://schemas.microsoft.com/office/drawing/2014/main" id="{6116C062-134E-42DB-937A-6844C6D76580}"/>
              </a:ext>
            </a:extLst>
          </p:cNvPr>
          <p:cNvSpPr/>
          <p:nvPr/>
        </p:nvSpPr>
        <p:spPr>
          <a:xfrm>
            <a:off x="1316148" y="2052771"/>
            <a:ext cx="340158" cy="461665"/>
          </a:xfrm>
          <a:prstGeom prst="rect">
            <a:avLst/>
          </a:prstGeom>
        </p:spPr>
        <p:txBody>
          <a:bodyPr wrap="none">
            <a:spAutoFit/>
          </a:bodyPr>
          <a:lstStyle/>
          <a:p>
            <a:r>
              <a:rPr lang="en-US" altLang="ko-KR" sz="2400" b="1" dirty="0">
                <a:solidFill>
                  <a:schemeClr val="bg1"/>
                </a:solidFill>
                <a:cs typeface="Arial" pitchFamily="34" charset="0"/>
              </a:rPr>
              <a:t>1</a:t>
            </a:r>
            <a:endParaRPr lang="ko-KR" altLang="en-US" sz="2400" dirty="0">
              <a:cs typeface="Arial" pitchFamily="34" charset="0"/>
            </a:endParaRPr>
          </a:p>
        </p:txBody>
      </p:sp>
      <p:sp>
        <p:nvSpPr>
          <p:cNvPr id="38" name="Oval 37">
            <a:extLst>
              <a:ext uri="{FF2B5EF4-FFF2-40B4-BE49-F238E27FC236}">
                <a16:creationId xmlns:a16="http://schemas.microsoft.com/office/drawing/2014/main" id="{75E02EA8-8846-422E-9582-2C112382A444}"/>
              </a:ext>
            </a:extLst>
          </p:cNvPr>
          <p:cNvSpPr/>
          <p:nvPr/>
        </p:nvSpPr>
        <p:spPr>
          <a:xfrm>
            <a:off x="1200792" y="1990152"/>
            <a:ext cx="586900" cy="5869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9" name="Rectangle 38">
            <a:extLst>
              <a:ext uri="{FF2B5EF4-FFF2-40B4-BE49-F238E27FC236}">
                <a16:creationId xmlns:a16="http://schemas.microsoft.com/office/drawing/2014/main" id="{2DB302C6-7099-4C74-A2A2-92F0220CDF5F}"/>
              </a:ext>
            </a:extLst>
          </p:cNvPr>
          <p:cNvSpPr/>
          <p:nvPr/>
        </p:nvSpPr>
        <p:spPr>
          <a:xfrm>
            <a:off x="1316148" y="2052771"/>
            <a:ext cx="340158" cy="461665"/>
          </a:xfrm>
          <a:prstGeom prst="rect">
            <a:avLst/>
          </a:prstGeom>
        </p:spPr>
        <p:txBody>
          <a:bodyPr wrap="none">
            <a:spAutoFit/>
          </a:bodyPr>
          <a:lstStyle/>
          <a:p>
            <a:r>
              <a:rPr lang="en-US" altLang="ko-KR" sz="2400" b="1" dirty="0">
                <a:solidFill>
                  <a:schemeClr val="bg1"/>
                </a:solidFill>
                <a:cs typeface="Arial" pitchFamily="34" charset="0"/>
              </a:rPr>
              <a:t>1</a:t>
            </a:r>
            <a:endParaRPr lang="ko-KR" altLang="en-US" sz="2400" dirty="0">
              <a:cs typeface="Arial" pitchFamily="34" charset="0"/>
            </a:endParaRPr>
          </a:p>
        </p:txBody>
      </p:sp>
      <p:grpSp>
        <p:nvGrpSpPr>
          <p:cNvPr id="40" name="Group 39">
            <a:extLst>
              <a:ext uri="{FF2B5EF4-FFF2-40B4-BE49-F238E27FC236}">
                <a16:creationId xmlns:a16="http://schemas.microsoft.com/office/drawing/2014/main" id="{3B22E758-CE8D-4478-8696-8F48C2430AC4}"/>
              </a:ext>
            </a:extLst>
          </p:cNvPr>
          <p:cNvGrpSpPr/>
          <p:nvPr/>
        </p:nvGrpSpPr>
        <p:grpSpPr>
          <a:xfrm>
            <a:off x="3181040" y="1679026"/>
            <a:ext cx="4718380" cy="1052580"/>
            <a:chOff x="3017860" y="4283314"/>
            <a:chExt cx="2531875" cy="1052580"/>
          </a:xfrm>
        </p:grpSpPr>
        <p:sp>
          <p:nvSpPr>
            <p:cNvPr id="41" name="TextBox 40">
              <a:extLst>
                <a:ext uri="{FF2B5EF4-FFF2-40B4-BE49-F238E27FC236}">
                  <a16:creationId xmlns:a16="http://schemas.microsoft.com/office/drawing/2014/main" id="{05699A36-4D24-4C12-918E-DBC4C9FC12F1}"/>
                </a:ext>
              </a:extLst>
            </p:cNvPr>
            <p:cNvSpPr txBox="1"/>
            <p:nvPr/>
          </p:nvSpPr>
          <p:spPr>
            <a:xfrm>
              <a:off x="3021855" y="4504897"/>
              <a:ext cx="2526523" cy="830997"/>
            </a:xfrm>
            <a:prstGeom prst="rect">
              <a:avLst/>
            </a:prstGeom>
            <a:noFill/>
          </p:spPr>
          <p:txBody>
            <a:bodyPr wrap="square" rtlCol="0">
              <a:spAutoFit/>
            </a:bodyPr>
            <a:lstStyle/>
            <a:p>
              <a:r>
                <a:rPr lang="en-US" altLang="ko-KR" sz="1200" dirty="0">
                  <a:solidFill>
                    <a:schemeClr val="tx1">
                      <a:lumMod val="65000"/>
                      <a:lumOff val="35000"/>
                    </a:schemeClr>
                  </a:solidFill>
                  <a:cs typeface="Arial" pitchFamily="34" charset="0"/>
                </a:rPr>
                <a:t>Select the region where most of your end users are located. It ensures the best user experience. For example, if most of your end users are located in South America, in this case, selecting the Sao Paulo region will be better than the Singapore region.  </a:t>
              </a:r>
              <a:endParaRPr lang="ko-KR" altLang="en-US" sz="1200" dirty="0">
                <a:solidFill>
                  <a:schemeClr val="tx1">
                    <a:lumMod val="65000"/>
                    <a:lumOff val="35000"/>
                  </a:schemeClr>
                </a:solidFill>
                <a:cs typeface="Arial" pitchFamily="34" charset="0"/>
              </a:endParaRPr>
            </a:p>
          </p:txBody>
        </p:sp>
        <p:sp>
          <p:nvSpPr>
            <p:cNvPr id="42" name="TextBox 41">
              <a:extLst>
                <a:ext uri="{FF2B5EF4-FFF2-40B4-BE49-F238E27FC236}">
                  <a16:creationId xmlns:a16="http://schemas.microsoft.com/office/drawing/2014/main" id="{213F26ED-ACD1-45F1-B9AF-C0BBD5904A20}"/>
                </a:ext>
              </a:extLst>
            </p:cNvPr>
            <p:cNvSpPr txBox="1"/>
            <p:nvPr/>
          </p:nvSpPr>
          <p:spPr>
            <a:xfrm>
              <a:off x="3017860" y="4283314"/>
              <a:ext cx="2531875" cy="307777"/>
            </a:xfrm>
            <a:prstGeom prst="rect">
              <a:avLst/>
            </a:prstGeom>
            <a:noFill/>
          </p:spPr>
          <p:txBody>
            <a:bodyPr wrap="square" rtlCol="0">
              <a:spAutoFit/>
            </a:bodyPr>
            <a:lstStyle/>
            <a:p>
              <a:r>
                <a:rPr lang="en-US" altLang="ko-KR" sz="1400" b="1" dirty="0" smtClean="0">
                  <a:solidFill>
                    <a:schemeClr val="tx1">
                      <a:lumMod val="75000"/>
                      <a:lumOff val="25000"/>
                    </a:schemeClr>
                  </a:solidFill>
                  <a:cs typeface="Arial" pitchFamily="34" charset="0"/>
                </a:rPr>
                <a:t>Proximity to Customers</a:t>
              </a:r>
              <a:endParaRPr lang="ko-KR" altLang="en-US" sz="1400" b="1" dirty="0">
                <a:solidFill>
                  <a:schemeClr val="tx1">
                    <a:lumMod val="75000"/>
                    <a:lumOff val="25000"/>
                  </a:schemeClr>
                </a:solidFill>
                <a:cs typeface="Arial" pitchFamily="34" charset="0"/>
              </a:endParaRPr>
            </a:p>
          </p:txBody>
        </p:sp>
      </p:grpSp>
      <p:grpSp>
        <p:nvGrpSpPr>
          <p:cNvPr id="43" name="Group 42">
            <a:extLst>
              <a:ext uri="{FF2B5EF4-FFF2-40B4-BE49-F238E27FC236}">
                <a16:creationId xmlns:a16="http://schemas.microsoft.com/office/drawing/2014/main" id="{312601C7-E461-4948-AE34-A6033C48CB3E}"/>
              </a:ext>
            </a:extLst>
          </p:cNvPr>
          <p:cNvGrpSpPr/>
          <p:nvPr/>
        </p:nvGrpSpPr>
        <p:grpSpPr>
          <a:xfrm>
            <a:off x="3157872" y="3915302"/>
            <a:ext cx="2155753" cy="1100913"/>
            <a:chOff x="474139" y="1335959"/>
            <a:chExt cx="2421974" cy="1236868"/>
          </a:xfrm>
        </p:grpSpPr>
        <p:sp>
          <p:nvSpPr>
            <p:cNvPr id="44" name="Rectangle 43">
              <a:extLst>
                <a:ext uri="{FF2B5EF4-FFF2-40B4-BE49-F238E27FC236}">
                  <a16:creationId xmlns:a16="http://schemas.microsoft.com/office/drawing/2014/main" id="{DC029145-2637-4F23-B22F-BEC79534764C}"/>
                </a:ext>
              </a:extLst>
            </p:cNvPr>
            <p:cNvSpPr/>
            <p:nvPr/>
          </p:nvSpPr>
          <p:spPr>
            <a:xfrm rot="16200000">
              <a:off x="1744049" y="1378392"/>
              <a:ext cx="1152128" cy="1152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45" name="Isosceles Triangle 1">
              <a:extLst>
                <a:ext uri="{FF2B5EF4-FFF2-40B4-BE49-F238E27FC236}">
                  <a16:creationId xmlns:a16="http://schemas.microsoft.com/office/drawing/2014/main" id="{6F9C3FD7-5BFD-40FF-AB69-1093A166F38E}"/>
                </a:ext>
              </a:extLst>
            </p:cNvPr>
            <p:cNvSpPr/>
            <p:nvPr/>
          </p:nvSpPr>
          <p:spPr>
            <a:xfrm rot="5400000">
              <a:off x="639556" y="1170542"/>
              <a:ext cx="1236868" cy="1567701"/>
            </a:xfrm>
            <a:custGeom>
              <a:avLst/>
              <a:gdLst/>
              <a:ahLst/>
              <a:cxnLst/>
              <a:rect l="l" t="t" r="r" b="b"/>
              <a:pathLst>
                <a:path w="1080000" h="1368874">
                  <a:moveTo>
                    <a:pt x="1080000" y="1368874"/>
                  </a:moveTo>
                  <a:lnTo>
                    <a:pt x="0" y="1368874"/>
                  </a:lnTo>
                  <a:lnTo>
                    <a:pt x="0" y="288874"/>
                  </a:lnTo>
                  <a:lnTo>
                    <a:pt x="372453" y="288874"/>
                  </a:lnTo>
                  <a:lnTo>
                    <a:pt x="540000" y="0"/>
                  </a:lnTo>
                  <a:lnTo>
                    <a:pt x="707547" y="288874"/>
                  </a:lnTo>
                  <a:lnTo>
                    <a:pt x="1080000" y="288874"/>
                  </a:lnTo>
                  <a:close/>
                </a:path>
              </a:pathLst>
            </a:custGeom>
            <a:solidFill>
              <a:schemeClr val="accent2"/>
            </a:solid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sp>
        <p:nvSpPr>
          <p:cNvPr id="46" name="Oval 45">
            <a:extLst>
              <a:ext uri="{FF2B5EF4-FFF2-40B4-BE49-F238E27FC236}">
                <a16:creationId xmlns:a16="http://schemas.microsoft.com/office/drawing/2014/main" id="{CEC895A2-6575-49B7-8740-4ACD02B0EE42}"/>
              </a:ext>
            </a:extLst>
          </p:cNvPr>
          <p:cNvSpPr/>
          <p:nvPr/>
        </p:nvSpPr>
        <p:spPr>
          <a:xfrm>
            <a:off x="3415960" y="4172307"/>
            <a:ext cx="586900" cy="5869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47" name="Rectangle 46">
            <a:extLst>
              <a:ext uri="{FF2B5EF4-FFF2-40B4-BE49-F238E27FC236}">
                <a16:creationId xmlns:a16="http://schemas.microsoft.com/office/drawing/2014/main" id="{A60D2806-3B8C-4768-B9B0-1D66E6D7150A}"/>
              </a:ext>
            </a:extLst>
          </p:cNvPr>
          <p:cNvSpPr/>
          <p:nvPr/>
        </p:nvSpPr>
        <p:spPr>
          <a:xfrm>
            <a:off x="3536777" y="4234926"/>
            <a:ext cx="340158" cy="461665"/>
          </a:xfrm>
          <a:prstGeom prst="rect">
            <a:avLst/>
          </a:prstGeom>
        </p:spPr>
        <p:txBody>
          <a:bodyPr wrap="none">
            <a:spAutoFit/>
          </a:bodyPr>
          <a:lstStyle/>
          <a:p>
            <a:r>
              <a:rPr lang="en-US" altLang="ko-KR" sz="2400" b="1" dirty="0">
                <a:solidFill>
                  <a:schemeClr val="bg1"/>
                </a:solidFill>
                <a:cs typeface="Arial" pitchFamily="34" charset="0"/>
              </a:rPr>
              <a:t>3</a:t>
            </a:r>
            <a:endParaRPr lang="ko-KR" altLang="en-US" sz="2400" dirty="0">
              <a:cs typeface="Arial" pitchFamily="34" charset="0"/>
            </a:endParaRPr>
          </a:p>
        </p:txBody>
      </p:sp>
      <p:grpSp>
        <p:nvGrpSpPr>
          <p:cNvPr id="48" name="Group 47">
            <a:extLst>
              <a:ext uri="{FF2B5EF4-FFF2-40B4-BE49-F238E27FC236}">
                <a16:creationId xmlns:a16="http://schemas.microsoft.com/office/drawing/2014/main" id="{3E989C96-1349-4B3C-8817-9EF28C1C2C4E}"/>
              </a:ext>
            </a:extLst>
          </p:cNvPr>
          <p:cNvGrpSpPr/>
          <p:nvPr/>
        </p:nvGrpSpPr>
        <p:grpSpPr>
          <a:xfrm>
            <a:off x="5509005" y="3919980"/>
            <a:ext cx="4718380" cy="901257"/>
            <a:chOff x="3017860" y="4283314"/>
            <a:chExt cx="2531875" cy="783376"/>
          </a:xfrm>
        </p:grpSpPr>
        <p:sp>
          <p:nvSpPr>
            <p:cNvPr id="49" name="TextBox 48">
              <a:extLst>
                <a:ext uri="{FF2B5EF4-FFF2-40B4-BE49-F238E27FC236}">
                  <a16:creationId xmlns:a16="http://schemas.microsoft.com/office/drawing/2014/main" id="{A2477FCA-3846-49CB-8F65-B52B57E8B1C5}"/>
                </a:ext>
              </a:extLst>
            </p:cNvPr>
            <p:cNvSpPr txBox="1"/>
            <p:nvPr/>
          </p:nvSpPr>
          <p:spPr>
            <a:xfrm>
              <a:off x="3021855" y="4504897"/>
              <a:ext cx="2526523" cy="561793"/>
            </a:xfrm>
            <a:prstGeom prst="rect">
              <a:avLst/>
            </a:prstGeom>
            <a:noFill/>
          </p:spPr>
          <p:txBody>
            <a:bodyPr wrap="square" rtlCol="0">
              <a:spAutoFit/>
            </a:bodyPr>
            <a:lstStyle/>
            <a:p>
              <a:r>
                <a:rPr lang="en-US" altLang="ko-KR" sz="1200" dirty="0">
                  <a:solidFill>
                    <a:schemeClr val="tx1">
                      <a:lumMod val="65000"/>
                      <a:lumOff val="35000"/>
                    </a:schemeClr>
                  </a:solidFill>
                  <a:cs typeface="Arial" pitchFamily="34" charset="0"/>
                </a:rPr>
                <a:t>While most of the popular AWS services are available in all regions, not all AWS services are available in all regions. In deciding on a region, consider your current and future business needs.  </a:t>
              </a:r>
              <a:endParaRPr lang="ko-KR" altLang="en-US" sz="1200" dirty="0">
                <a:solidFill>
                  <a:schemeClr val="tx1">
                    <a:lumMod val="65000"/>
                    <a:lumOff val="35000"/>
                  </a:schemeClr>
                </a:solidFill>
                <a:cs typeface="Arial" pitchFamily="34" charset="0"/>
              </a:endParaRPr>
            </a:p>
          </p:txBody>
        </p:sp>
        <p:sp>
          <p:nvSpPr>
            <p:cNvPr id="50" name="TextBox 49">
              <a:extLst>
                <a:ext uri="{FF2B5EF4-FFF2-40B4-BE49-F238E27FC236}">
                  <a16:creationId xmlns:a16="http://schemas.microsoft.com/office/drawing/2014/main" id="{ED653143-26EF-4E8B-8EF0-8C9A26B1D5CE}"/>
                </a:ext>
              </a:extLst>
            </p:cNvPr>
            <p:cNvSpPr txBox="1"/>
            <p:nvPr/>
          </p:nvSpPr>
          <p:spPr>
            <a:xfrm>
              <a:off x="3017860" y="4283314"/>
              <a:ext cx="2531875" cy="307777"/>
            </a:xfrm>
            <a:prstGeom prst="rect">
              <a:avLst/>
            </a:prstGeom>
            <a:noFill/>
          </p:spPr>
          <p:txBody>
            <a:bodyPr wrap="square" rtlCol="0">
              <a:spAutoFit/>
            </a:bodyPr>
            <a:lstStyle/>
            <a:p>
              <a:r>
                <a:rPr lang="en-US" altLang="ko-KR" sz="1400" b="1" dirty="0">
                  <a:solidFill>
                    <a:schemeClr val="tx1">
                      <a:lumMod val="75000"/>
                      <a:lumOff val="25000"/>
                    </a:schemeClr>
                  </a:solidFill>
                  <a:cs typeface="Arial" pitchFamily="34" charset="0"/>
                </a:rPr>
                <a:t>Service availability </a:t>
              </a:r>
              <a:endParaRPr lang="ko-KR" altLang="en-US" sz="1400" b="1" dirty="0">
                <a:solidFill>
                  <a:schemeClr val="tx1">
                    <a:lumMod val="75000"/>
                    <a:lumOff val="25000"/>
                  </a:schemeClr>
                </a:solidFill>
                <a:cs typeface="Arial" pitchFamily="34" charset="0"/>
              </a:endParaRPr>
            </a:p>
          </p:txBody>
        </p:sp>
      </p:grpSp>
      <p:grpSp>
        <p:nvGrpSpPr>
          <p:cNvPr id="51" name="Group 50">
            <a:extLst>
              <a:ext uri="{FF2B5EF4-FFF2-40B4-BE49-F238E27FC236}">
                <a16:creationId xmlns:a16="http://schemas.microsoft.com/office/drawing/2014/main" id="{959BA264-2A77-4984-9807-CA4EE7FC6501}"/>
              </a:ext>
            </a:extLst>
          </p:cNvPr>
          <p:cNvGrpSpPr/>
          <p:nvPr/>
        </p:nvGrpSpPr>
        <p:grpSpPr>
          <a:xfrm>
            <a:off x="2050144" y="2832699"/>
            <a:ext cx="2155752" cy="1100913"/>
            <a:chOff x="1744111" y="2572826"/>
            <a:chExt cx="2421972" cy="1236868"/>
          </a:xfrm>
        </p:grpSpPr>
        <p:sp>
          <p:nvSpPr>
            <p:cNvPr id="52" name="Rectangle 51">
              <a:extLst>
                <a:ext uri="{FF2B5EF4-FFF2-40B4-BE49-F238E27FC236}">
                  <a16:creationId xmlns:a16="http://schemas.microsoft.com/office/drawing/2014/main" id="{75FA1B80-F852-40DB-AFB7-57E5232F15A0}"/>
                </a:ext>
              </a:extLst>
            </p:cNvPr>
            <p:cNvSpPr/>
            <p:nvPr/>
          </p:nvSpPr>
          <p:spPr>
            <a:xfrm rot="16200000">
              <a:off x="3014019" y="2615261"/>
              <a:ext cx="1152128" cy="11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53" name="Isosceles Triangle 1">
              <a:extLst>
                <a:ext uri="{FF2B5EF4-FFF2-40B4-BE49-F238E27FC236}">
                  <a16:creationId xmlns:a16="http://schemas.microsoft.com/office/drawing/2014/main" id="{17166483-8531-439B-8A8A-D920680FEFC4}"/>
                </a:ext>
              </a:extLst>
            </p:cNvPr>
            <p:cNvSpPr/>
            <p:nvPr/>
          </p:nvSpPr>
          <p:spPr>
            <a:xfrm rot="5400000">
              <a:off x="1909527" y="2407410"/>
              <a:ext cx="1236868" cy="1567700"/>
            </a:xfrm>
            <a:custGeom>
              <a:avLst/>
              <a:gdLst/>
              <a:ahLst/>
              <a:cxnLst/>
              <a:rect l="l" t="t" r="r" b="b"/>
              <a:pathLst>
                <a:path w="1080000" h="1368874">
                  <a:moveTo>
                    <a:pt x="1080000" y="1368874"/>
                  </a:moveTo>
                  <a:lnTo>
                    <a:pt x="0" y="1368874"/>
                  </a:lnTo>
                  <a:lnTo>
                    <a:pt x="0" y="288874"/>
                  </a:lnTo>
                  <a:lnTo>
                    <a:pt x="372453" y="288874"/>
                  </a:lnTo>
                  <a:lnTo>
                    <a:pt x="540000" y="0"/>
                  </a:lnTo>
                  <a:lnTo>
                    <a:pt x="707547" y="288874"/>
                  </a:lnTo>
                  <a:lnTo>
                    <a:pt x="1080000" y="288874"/>
                  </a:lnTo>
                  <a:close/>
                </a:path>
              </a:pathLst>
            </a:custGeom>
            <a:solidFill>
              <a:schemeClr val="bg1">
                <a:lumMod val="75000"/>
              </a:schemeClr>
            </a:solid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54" name="Oval 53">
            <a:extLst>
              <a:ext uri="{FF2B5EF4-FFF2-40B4-BE49-F238E27FC236}">
                <a16:creationId xmlns:a16="http://schemas.microsoft.com/office/drawing/2014/main" id="{6B0D524E-9B98-4D0C-866B-EAD3A152940B}"/>
              </a:ext>
            </a:extLst>
          </p:cNvPr>
          <p:cNvSpPr/>
          <p:nvPr/>
        </p:nvSpPr>
        <p:spPr>
          <a:xfrm>
            <a:off x="2320547" y="3089704"/>
            <a:ext cx="586900" cy="5869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55" name="Rectangle 54">
            <a:extLst>
              <a:ext uri="{FF2B5EF4-FFF2-40B4-BE49-F238E27FC236}">
                <a16:creationId xmlns:a16="http://schemas.microsoft.com/office/drawing/2014/main" id="{89E1DC37-5AF0-4B8C-BF6C-7D2168903C41}"/>
              </a:ext>
            </a:extLst>
          </p:cNvPr>
          <p:cNvSpPr/>
          <p:nvPr/>
        </p:nvSpPr>
        <p:spPr>
          <a:xfrm>
            <a:off x="2435903" y="3152323"/>
            <a:ext cx="340158" cy="461665"/>
          </a:xfrm>
          <a:prstGeom prst="rect">
            <a:avLst/>
          </a:prstGeom>
        </p:spPr>
        <p:txBody>
          <a:bodyPr wrap="none">
            <a:spAutoFit/>
          </a:bodyPr>
          <a:lstStyle/>
          <a:p>
            <a:r>
              <a:rPr lang="en-US" altLang="ko-KR" sz="2400" b="1" dirty="0">
                <a:solidFill>
                  <a:schemeClr val="bg1"/>
                </a:solidFill>
                <a:cs typeface="Arial" pitchFamily="34" charset="0"/>
              </a:rPr>
              <a:t>2</a:t>
            </a:r>
            <a:endParaRPr lang="ko-KR" altLang="en-US" sz="2400" dirty="0">
              <a:cs typeface="Arial" pitchFamily="34" charset="0"/>
            </a:endParaRPr>
          </a:p>
        </p:txBody>
      </p:sp>
      <p:grpSp>
        <p:nvGrpSpPr>
          <p:cNvPr id="56" name="Group 55">
            <a:extLst>
              <a:ext uri="{FF2B5EF4-FFF2-40B4-BE49-F238E27FC236}">
                <a16:creationId xmlns:a16="http://schemas.microsoft.com/office/drawing/2014/main" id="{0D16A1A6-C483-4242-9F41-B3D57052CB91}"/>
              </a:ext>
            </a:extLst>
          </p:cNvPr>
          <p:cNvGrpSpPr/>
          <p:nvPr/>
        </p:nvGrpSpPr>
        <p:grpSpPr>
          <a:xfrm>
            <a:off x="4319564" y="2870447"/>
            <a:ext cx="4858380" cy="897939"/>
            <a:chOff x="3017860" y="4283314"/>
            <a:chExt cx="2531875" cy="790786"/>
          </a:xfrm>
        </p:grpSpPr>
        <p:sp>
          <p:nvSpPr>
            <p:cNvPr id="57" name="TextBox 56">
              <a:extLst>
                <a:ext uri="{FF2B5EF4-FFF2-40B4-BE49-F238E27FC236}">
                  <a16:creationId xmlns:a16="http://schemas.microsoft.com/office/drawing/2014/main" id="{A8D7E39D-52CB-4C35-9F1A-8294C4993367}"/>
                </a:ext>
              </a:extLst>
            </p:cNvPr>
            <p:cNvSpPr txBox="1"/>
            <p:nvPr/>
          </p:nvSpPr>
          <p:spPr>
            <a:xfrm>
              <a:off x="3021855" y="4504897"/>
              <a:ext cx="2526523" cy="569203"/>
            </a:xfrm>
            <a:prstGeom prst="rect">
              <a:avLst/>
            </a:prstGeom>
            <a:noFill/>
          </p:spPr>
          <p:txBody>
            <a:bodyPr wrap="square" rtlCol="0">
              <a:spAutoFit/>
            </a:bodyPr>
            <a:lstStyle/>
            <a:p>
              <a:r>
                <a:rPr lang="en-US" altLang="ko-KR" sz="1200" dirty="0">
                  <a:solidFill>
                    <a:schemeClr val="tx1">
                      <a:lumMod val="65000"/>
                      <a:lumOff val="35000"/>
                    </a:schemeClr>
                  </a:solidFill>
                  <a:cs typeface="Arial" pitchFamily="34" charset="0"/>
                </a:rPr>
                <a:t>You may have data compliance requirements where your data needs to reside in a certain country or replicated to a specific country for disaster recovery. </a:t>
              </a:r>
              <a:r>
                <a:rPr lang="en-US" altLang="ko-KR" sz="1200" dirty="0">
                  <a:solidFill>
                    <a:schemeClr val="tx1">
                      <a:lumMod val="50000"/>
                      <a:lumOff val="50000"/>
                    </a:schemeClr>
                  </a:solidFill>
                  <a:cs typeface="Arial" pitchFamily="34" charset="0"/>
                </a:rPr>
                <a:t> </a:t>
              </a:r>
              <a:endParaRPr lang="ko-KR" altLang="en-US" sz="1200" dirty="0">
                <a:solidFill>
                  <a:schemeClr val="tx1">
                    <a:lumMod val="50000"/>
                    <a:lumOff val="50000"/>
                  </a:schemeClr>
                </a:solidFill>
                <a:cs typeface="Arial" pitchFamily="34" charset="0"/>
              </a:endParaRPr>
            </a:p>
          </p:txBody>
        </p:sp>
        <p:sp>
          <p:nvSpPr>
            <p:cNvPr id="58" name="TextBox 57">
              <a:extLst>
                <a:ext uri="{FF2B5EF4-FFF2-40B4-BE49-F238E27FC236}">
                  <a16:creationId xmlns:a16="http://schemas.microsoft.com/office/drawing/2014/main" id="{804549C8-A07C-47E7-8854-3310F67AF5D7}"/>
                </a:ext>
              </a:extLst>
            </p:cNvPr>
            <p:cNvSpPr txBox="1"/>
            <p:nvPr/>
          </p:nvSpPr>
          <p:spPr>
            <a:xfrm>
              <a:off x="3017860" y="4283314"/>
              <a:ext cx="2531875" cy="307777"/>
            </a:xfrm>
            <a:prstGeom prst="rect">
              <a:avLst/>
            </a:prstGeom>
            <a:noFill/>
          </p:spPr>
          <p:txBody>
            <a:bodyPr wrap="square" rtlCol="0">
              <a:spAutoFit/>
            </a:bodyPr>
            <a:lstStyle/>
            <a:p>
              <a:r>
                <a:rPr lang="en-US" altLang="ko-KR" sz="1400" b="1" dirty="0">
                  <a:solidFill>
                    <a:schemeClr val="tx1">
                      <a:lumMod val="75000"/>
                      <a:lumOff val="25000"/>
                    </a:schemeClr>
                  </a:solidFill>
                  <a:cs typeface="Arial" pitchFamily="34" charset="0"/>
                </a:rPr>
                <a:t>Compliance</a:t>
              </a:r>
              <a:endParaRPr lang="ko-KR" altLang="en-US" sz="1200" b="1" dirty="0">
                <a:solidFill>
                  <a:schemeClr val="tx1">
                    <a:lumMod val="75000"/>
                    <a:lumOff val="25000"/>
                  </a:schemeClr>
                </a:solidFill>
                <a:cs typeface="Arial" pitchFamily="34" charset="0"/>
              </a:endParaRPr>
            </a:p>
          </p:txBody>
        </p:sp>
      </p:grpSp>
      <p:grpSp>
        <p:nvGrpSpPr>
          <p:cNvPr id="59" name="Group 58">
            <a:extLst>
              <a:ext uri="{FF2B5EF4-FFF2-40B4-BE49-F238E27FC236}">
                <a16:creationId xmlns:a16="http://schemas.microsoft.com/office/drawing/2014/main" id="{AC005778-5A13-4432-84D0-D6EB0A02F171}"/>
              </a:ext>
            </a:extLst>
          </p:cNvPr>
          <p:cNvGrpSpPr/>
          <p:nvPr/>
        </p:nvGrpSpPr>
        <p:grpSpPr>
          <a:xfrm>
            <a:off x="4265598" y="4997904"/>
            <a:ext cx="2155752" cy="1100913"/>
            <a:chOff x="1744111" y="2572826"/>
            <a:chExt cx="2421972" cy="1236868"/>
          </a:xfrm>
        </p:grpSpPr>
        <p:sp>
          <p:nvSpPr>
            <p:cNvPr id="60" name="Rectangle 59">
              <a:extLst>
                <a:ext uri="{FF2B5EF4-FFF2-40B4-BE49-F238E27FC236}">
                  <a16:creationId xmlns:a16="http://schemas.microsoft.com/office/drawing/2014/main" id="{903F2B4C-2291-4064-B29B-C243E9F4C843}"/>
                </a:ext>
              </a:extLst>
            </p:cNvPr>
            <p:cNvSpPr/>
            <p:nvPr/>
          </p:nvSpPr>
          <p:spPr>
            <a:xfrm rot="16200000">
              <a:off x="3014019" y="2615261"/>
              <a:ext cx="1152128" cy="11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1" name="Isosceles Triangle 1">
              <a:extLst>
                <a:ext uri="{FF2B5EF4-FFF2-40B4-BE49-F238E27FC236}">
                  <a16:creationId xmlns:a16="http://schemas.microsoft.com/office/drawing/2014/main" id="{171A2ACC-C0DC-47D6-BBB0-8996B8C53014}"/>
                </a:ext>
              </a:extLst>
            </p:cNvPr>
            <p:cNvSpPr/>
            <p:nvPr/>
          </p:nvSpPr>
          <p:spPr>
            <a:xfrm rot="5400000">
              <a:off x="1909527" y="2407410"/>
              <a:ext cx="1236868" cy="1567700"/>
            </a:xfrm>
            <a:custGeom>
              <a:avLst/>
              <a:gdLst/>
              <a:ahLst/>
              <a:cxnLst/>
              <a:rect l="l" t="t" r="r" b="b"/>
              <a:pathLst>
                <a:path w="1080000" h="1368874">
                  <a:moveTo>
                    <a:pt x="1080000" y="1368874"/>
                  </a:moveTo>
                  <a:lnTo>
                    <a:pt x="0" y="1368874"/>
                  </a:lnTo>
                  <a:lnTo>
                    <a:pt x="0" y="288874"/>
                  </a:lnTo>
                  <a:lnTo>
                    <a:pt x="372453" y="288874"/>
                  </a:lnTo>
                  <a:lnTo>
                    <a:pt x="540000" y="0"/>
                  </a:lnTo>
                  <a:lnTo>
                    <a:pt x="707547" y="288874"/>
                  </a:lnTo>
                  <a:lnTo>
                    <a:pt x="1080000" y="288874"/>
                  </a:lnTo>
                  <a:close/>
                </a:path>
              </a:pathLst>
            </a:custGeom>
            <a:solidFill>
              <a:schemeClr val="bg1">
                <a:lumMod val="75000"/>
              </a:schemeClr>
            </a:solid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62" name="Oval 61">
            <a:extLst>
              <a:ext uri="{FF2B5EF4-FFF2-40B4-BE49-F238E27FC236}">
                <a16:creationId xmlns:a16="http://schemas.microsoft.com/office/drawing/2014/main" id="{E8307360-5A52-488A-AA47-21E2E383040E}"/>
              </a:ext>
            </a:extLst>
          </p:cNvPr>
          <p:cNvSpPr/>
          <p:nvPr/>
        </p:nvSpPr>
        <p:spPr>
          <a:xfrm>
            <a:off x="4544727" y="5254909"/>
            <a:ext cx="586900" cy="5869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3" name="Rectangle 62">
            <a:extLst>
              <a:ext uri="{FF2B5EF4-FFF2-40B4-BE49-F238E27FC236}">
                <a16:creationId xmlns:a16="http://schemas.microsoft.com/office/drawing/2014/main" id="{82325386-C5A6-4050-B93E-F5E49DD65ECB}"/>
              </a:ext>
            </a:extLst>
          </p:cNvPr>
          <p:cNvSpPr/>
          <p:nvPr/>
        </p:nvSpPr>
        <p:spPr>
          <a:xfrm>
            <a:off x="4668304" y="5317528"/>
            <a:ext cx="340158" cy="461665"/>
          </a:xfrm>
          <a:prstGeom prst="rect">
            <a:avLst/>
          </a:prstGeom>
        </p:spPr>
        <p:txBody>
          <a:bodyPr wrap="none">
            <a:spAutoFit/>
          </a:bodyPr>
          <a:lstStyle/>
          <a:p>
            <a:r>
              <a:rPr lang="en-US" altLang="ko-KR" sz="2400" b="1" dirty="0">
                <a:solidFill>
                  <a:schemeClr val="bg1"/>
                </a:solidFill>
                <a:cs typeface="Arial" pitchFamily="34" charset="0"/>
              </a:rPr>
              <a:t>4</a:t>
            </a:r>
            <a:endParaRPr lang="ko-KR" altLang="en-US" sz="2400" dirty="0">
              <a:cs typeface="Arial" pitchFamily="34" charset="0"/>
            </a:endParaRPr>
          </a:p>
        </p:txBody>
      </p:sp>
      <p:grpSp>
        <p:nvGrpSpPr>
          <p:cNvPr id="64" name="Group 63">
            <a:extLst>
              <a:ext uri="{FF2B5EF4-FFF2-40B4-BE49-F238E27FC236}">
                <a16:creationId xmlns:a16="http://schemas.microsoft.com/office/drawing/2014/main" id="{DD5EFB95-DF33-4670-8A94-F460C960264D}"/>
              </a:ext>
            </a:extLst>
          </p:cNvPr>
          <p:cNvGrpSpPr/>
          <p:nvPr/>
        </p:nvGrpSpPr>
        <p:grpSpPr>
          <a:xfrm>
            <a:off x="6587048" y="5061563"/>
            <a:ext cx="4826278" cy="785824"/>
            <a:chOff x="3017860" y="4283314"/>
            <a:chExt cx="2295676" cy="537160"/>
          </a:xfrm>
        </p:grpSpPr>
        <p:sp>
          <p:nvSpPr>
            <p:cNvPr id="65" name="TextBox 64">
              <a:extLst>
                <a:ext uri="{FF2B5EF4-FFF2-40B4-BE49-F238E27FC236}">
                  <a16:creationId xmlns:a16="http://schemas.microsoft.com/office/drawing/2014/main" id="{D64A9AFC-AE4E-4897-8B49-66325912CBBA}"/>
                </a:ext>
              </a:extLst>
            </p:cNvPr>
            <p:cNvSpPr txBox="1"/>
            <p:nvPr/>
          </p:nvSpPr>
          <p:spPr>
            <a:xfrm>
              <a:off x="3021855" y="4504897"/>
              <a:ext cx="2290823" cy="315577"/>
            </a:xfrm>
            <a:prstGeom prst="rect">
              <a:avLst/>
            </a:prstGeom>
            <a:noFill/>
          </p:spPr>
          <p:txBody>
            <a:bodyPr wrap="square" rtlCol="0">
              <a:spAutoFit/>
            </a:bodyPr>
            <a:lstStyle/>
            <a:p>
              <a:r>
                <a:rPr lang="en-US" altLang="ko-KR" sz="1200" dirty="0">
                  <a:solidFill>
                    <a:schemeClr val="tx1">
                      <a:lumMod val="65000"/>
                      <a:lumOff val="35000"/>
                    </a:schemeClr>
                  </a:solidFill>
                  <a:cs typeface="Arial" pitchFamily="34" charset="0"/>
                </a:rPr>
                <a:t>Price across regions varies due to different regulations in each country, capital, and operational expenses such as the cost of </a:t>
              </a:r>
              <a:r>
                <a:rPr lang="en-US" altLang="ko-KR" sz="1200" dirty="0" smtClean="0">
                  <a:solidFill>
                    <a:schemeClr val="tx1">
                      <a:lumMod val="65000"/>
                      <a:lumOff val="35000"/>
                    </a:schemeClr>
                  </a:solidFill>
                  <a:cs typeface="Arial" pitchFamily="34" charset="0"/>
                </a:rPr>
                <a:t>electricity</a:t>
              </a:r>
              <a:endParaRPr lang="ko-KR" altLang="en-US" sz="1200" dirty="0">
                <a:solidFill>
                  <a:schemeClr val="tx1">
                    <a:lumMod val="65000"/>
                    <a:lumOff val="35000"/>
                  </a:schemeClr>
                </a:solidFill>
                <a:cs typeface="Arial" pitchFamily="34" charset="0"/>
              </a:endParaRPr>
            </a:p>
          </p:txBody>
        </p:sp>
        <p:sp>
          <p:nvSpPr>
            <p:cNvPr id="66" name="TextBox 65">
              <a:extLst>
                <a:ext uri="{FF2B5EF4-FFF2-40B4-BE49-F238E27FC236}">
                  <a16:creationId xmlns:a16="http://schemas.microsoft.com/office/drawing/2014/main" id="{717B8335-0C9C-4DBE-BE6E-E47F7D596505}"/>
                </a:ext>
              </a:extLst>
            </p:cNvPr>
            <p:cNvSpPr txBox="1"/>
            <p:nvPr/>
          </p:nvSpPr>
          <p:spPr>
            <a:xfrm>
              <a:off x="3017860" y="4283314"/>
              <a:ext cx="2295676" cy="307777"/>
            </a:xfrm>
            <a:prstGeom prst="rect">
              <a:avLst/>
            </a:prstGeom>
            <a:noFill/>
          </p:spPr>
          <p:txBody>
            <a:bodyPr wrap="square" rtlCol="0">
              <a:spAutoFit/>
            </a:bodyPr>
            <a:lstStyle/>
            <a:p>
              <a:r>
                <a:rPr lang="en-US" altLang="ko-KR" sz="1400" b="1" dirty="0" smtClean="0">
                  <a:solidFill>
                    <a:schemeClr val="tx1">
                      <a:lumMod val="75000"/>
                      <a:lumOff val="25000"/>
                    </a:schemeClr>
                  </a:solidFill>
                  <a:cs typeface="Arial" pitchFamily="34" charset="0"/>
                </a:rPr>
                <a:t>Cost</a:t>
              </a:r>
              <a:endParaRPr lang="ko-KR" altLang="en-US" sz="1200" b="1" dirty="0">
                <a:solidFill>
                  <a:schemeClr val="tx1">
                    <a:lumMod val="75000"/>
                    <a:lumOff val="25000"/>
                  </a:schemeClr>
                </a:solidFill>
                <a:cs typeface="Arial" pitchFamily="34" charset="0"/>
              </a:endParaRPr>
            </a:p>
          </p:txBody>
        </p:sp>
      </p:grpSp>
      <p:sp>
        <p:nvSpPr>
          <p:cNvPr id="67" name="Parallelogram 30">
            <a:extLst>
              <a:ext uri="{FF2B5EF4-FFF2-40B4-BE49-F238E27FC236}">
                <a16:creationId xmlns:a16="http://schemas.microsoft.com/office/drawing/2014/main" id="{58979F22-492E-4BCE-BF93-BDEF5FAF25D8}"/>
              </a:ext>
            </a:extLst>
          </p:cNvPr>
          <p:cNvSpPr/>
          <p:nvPr/>
        </p:nvSpPr>
        <p:spPr>
          <a:xfrm flipH="1">
            <a:off x="5906641" y="5426638"/>
            <a:ext cx="351685" cy="352555"/>
          </a:xfrm>
          <a:custGeom>
            <a:avLst/>
            <a:gdLst/>
            <a:ahLst/>
            <a:cxnLst/>
            <a:rect l="l" t="t" r="r" b="b"/>
            <a:pathLst>
              <a:path w="3240000" h="3248012">
                <a:moveTo>
                  <a:pt x="712553" y="858820"/>
                </a:moveTo>
                <a:cubicBezTo>
                  <a:pt x="727950" y="858820"/>
                  <a:pt x="743348" y="864694"/>
                  <a:pt x="755096" y="876443"/>
                </a:cubicBezTo>
                <a:lnTo>
                  <a:pt x="1193671" y="1315016"/>
                </a:lnTo>
                <a:lnTo>
                  <a:pt x="1509169" y="999517"/>
                </a:lnTo>
                <a:cubicBezTo>
                  <a:pt x="1509517" y="999169"/>
                  <a:pt x="1509868" y="998827"/>
                  <a:pt x="1510414" y="998691"/>
                </a:cubicBezTo>
                <a:lnTo>
                  <a:pt x="1518932" y="988592"/>
                </a:lnTo>
                <a:cubicBezTo>
                  <a:pt x="1531945" y="978263"/>
                  <a:pt x="1547912" y="974188"/>
                  <a:pt x="1563209" y="975946"/>
                </a:cubicBezTo>
                <a:cubicBezTo>
                  <a:pt x="1578505" y="977705"/>
                  <a:pt x="1593131" y="985299"/>
                  <a:pt x="1603459" y="998313"/>
                </a:cubicBezTo>
                <a:lnTo>
                  <a:pt x="1892346" y="1362277"/>
                </a:lnTo>
                <a:lnTo>
                  <a:pt x="2149759" y="1177067"/>
                </a:lnTo>
                <a:lnTo>
                  <a:pt x="2151621" y="1174867"/>
                </a:lnTo>
                <a:cubicBezTo>
                  <a:pt x="2159033" y="1169006"/>
                  <a:pt x="2167397" y="1165168"/>
                  <a:pt x="2176160" y="1163802"/>
                </a:cubicBezTo>
                <a:cubicBezTo>
                  <a:pt x="2177188" y="1163485"/>
                  <a:pt x="2178237" y="1163269"/>
                  <a:pt x="2179375" y="1163558"/>
                </a:cubicBezTo>
                <a:cubicBezTo>
                  <a:pt x="2184768" y="1161771"/>
                  <a:pt x="2190389" y="1161654"/>
                  <a:pt x="2195921" y="1162300"/>
                </a:cubicBezTo>
                <a:cubicBezTo>
                  <a:pt x="2196662" y="1162386"/>
                  <a:pt x="2197402" y="1162487"/>
                  <a:pt x="2198081" y="1162987"/>
                </a:cubicBezTo>
                <a:cubicBezTo>
                  <a:pt x="2202197" y="1163290"/>
                  <a:pt x="2206218" y="1164270"/>
                  <a:pt x="2209739" y="1166702"/>
                </a:cubicBezTo>
                <a:cubicBezTo>
                  <a:pt x="2213116" y="1166857"/>
                  <a:pt x="2216051" y="1168231"/>
                  <a:pt x="2218766" y="1170038"/>
                </a:cubicBezTo>
                <a:cubicBezTo>
                  <a:pt x="2225342" y="1173160"/>
                  <a:pt x="2231151" y="1177875"/>
                  <a:pt x="2235489" y="1184194"/>
                </a:cubicBezTo>
                <a:lnTo>
                  <a:pt x="2236132" y="1184737"/>
                </a:lnTo>
                <a:lnTo>
                  <a:pt x="2236287" y="1184934"/>
                </a:lnTo>
                <a:lnTo>
                  <a:pt x="2238712" y="1187183"/>
                </a:lnTo>
                <a:cubicBezTo>
                  <a:pt x="2239115" y="1187744"/>
                  <a:pt x="2239507" y="1188310"/>
                  <a:pt x="2239574" y="1189090"/>
                </a:cubicBezTo>
                <a:lnTo>
                  <a:pt x="2540580" y="1569705"/>
                </a:lnTo>
                <a:cubicBezTo>
                  <a:pt x="2561191" y="1595768"/>
                  <a:pt x="2556772" y="1633604"/>
                  <a:pt x="2530710" y="1654215"/>
                </a:cubicBezTo>
                <a:cubicBezTo>
                  <a:pt x="2504647" y="1674827"/>
                  <a:pt x="2466811" y="1670408"/>
                  <a:pt x="2446199" y="1644345"/>
                </a:cubicBezTo>
                <a:lnTo>
                  <a:pt x="2177884" y="1305067"/>
                </a:lnTo>
                <a:lnTo>
                  <a:pt x="1934804" y="1479967"/>
                </a:lnTo>
                <a:cubicBezTo>
                  <a:pt x="1927367" y="1485317"/>
                  <a:pt x="1919123" y="1488726"/>
                  <a:pt x="1910598" y="1489881"/>
                </a:cubicBezTo>
                <a:cubicBezTo>
                  <a:pt x="1885257" y="1507791"/>
                  <a:pt x="1850121" y="1502627"/>
                  <a:pt x="1830495" y="1477903"/>
                </a:cubicBezTo>
                <a:lnTo>
                  <a:pt x="1551924" y="1126933"/>
                </a:lnTo>
                <a:lnTo>
                  <a:pt x="1239041" y="1439816"/>
                </a:lnTo>
                <a:cubicBezTo>
                  <a:pt x="1226569" y="1452288"/>
                  <a:pt x="1209983" y="1458139"/>
                  <a:pt x="1193674" y="1456888"/>
                </a:cubicBezTo>
                <a:cubicBezTo>
                  <a:pt x="1177363" y="1458142"/>
                  <a:pt x="1160774" y="1452290"/>
                  <a:pt x="1148301" y="1439816"/>
                </a:cubicBezTo>
                <a:lnTo>
                  <a:pt x="670011" y="961527"/>
                </a:lnTo>
                <a:cubicBezTo>
                  <a:pt x="646515" y="938031"/>
                  <a:pt x="646515" y="899938"/>
                  <a:pt x="670011" y="876442"/>
                </a:cubicBezTo>
                <a:cubicBezTo>
                  <a:pt x="681760" y="864694"/>
                  <a:pt x="697157" y="858820"/>
                  <a:pt x="712553" y="858820"/>
                </a:cubicBezTo>
                <a:close/>
                <a:moveTo>
                  <a:pt x="2790000" y="699581"/>
                </a:moveTo>
                <a:lnTo>
                  <a:pt x="450000" y="699581"/>
                </a:lnTo>
                <a:lnTo>
                  <a:pt x="450000" y="1851581"/>
                </a:lnTo>
                <a:lnTo>
                  <a:pt x="2790000" y="1851581"/>
                </a:lnTo>
                <a:close/>
                <a:moveTo>
                  <a:pt x="2987972" y="519497"/>
                </a:moveTo>
                <a:lnTo>
                  <a:pt x="2987972" y="2031665"/>
                </a:lnTo>
                <a:lnTo>
                  <a:pt x="252028" y="2031665"/>
                </a:lnTo>
                <a:lnTo>
                  <a:pt x="252028" y="519497"/>
                </a:lnTo>
                <a:close/>
                <a:moveTo>
                  <a:pt x="1620000" y="0"/>
                </a:moveTo>
                <a:cubicBezTo>
                  <a:pt x="1540462" y="0"/>
                  <a:pt x="1475984" y="64478"/>
                  <a:pt x="1475984" y="144016"/>
                </a:cubicBezTo>
                <a:lnTo>
                  <a:pt x="1475984" y="267469"/>
                </a:lnTo>
                <a:lnTo>
                  <a:pt x="0" y="267469"/>
                </a:lnTo>
                <a:lnTo>
                  <a:pt x="0" y="2283693"/>
                </a:lnTo>
                <a:lnTo>
                  <a:pt x="852101" y="2283693"/>
                </a:lnTo>
                <a:lnTo>
                  <a:pt x="323771" y="3248012"/>
                </a:lnTo>
                <a:lnTo>
                  <a:pt x="621526" y="3248012"/>
                </a:lnTo>
                <a:lnTo>
                  <a:pt x="1149856" y="2283693"/>
                </a:lnTo>
                <a:lnTo>
                  <a:pt x="2090146" y="2283693"/>
                </a:lnTo>
                <a:lnTo>
                  <a:pt x="2618476" y="3248012"/>
                </a:lnTo>
                <a:lnTo>
                  <a:pt x="2916231" y="3248012"/>
                </a:lnTo>
                <a:lnTo>
                  <a:pt x="2387901" y="2283693"/>
                </a:lnTo>
                <a:lnTo>
                  <a:pt x="3240000" y="2283693"/>
                </a:lnTo>
                <a:lnTo>
                  <a:pt x="3240000" y="267469"/>
                </a:lnTo>
                <a:lnTo>
                  <a:pt x="1764016" y="267469"/>
                </a:lnTo>
                <a:lnTo>
                  <a:pt x="1764016" y="144016"/>
                </a:lnTo>
                <a:cubicBezTo>
                  <a:pt x="1764016" y="64478"/>
                  <a:pt x="1699538"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68" name="Rectangle 130">
            <a:extLst>
              <a:ext uri="{FF2B5EF4-FFF2-40B4-BE49-F238E27FC236}">
                <a16:creationId xmlns:a16="http://schemas.microsoft.com/office/drawing/2014/main" id="{11817F9B-9E6C-4CCA-8E81-A309B9777D37}"/>
              </a:ext>
            </a:extLst>
          </p:cNvPr>
          <p:cNvSpPr/>
          <p:nvPr/>
        </p:nvSpPr>
        <p:spPr>
          <a:xfrm>
            <a:off x="3672328" y="3241521"/>
            <a:ext cx="351990" cy="353588"/>
          </a:xfrm>
          <a:custGeom>
            <a:avLst/>
            <a:gdLst/>
            <a:ahLst/>
            <a:cxnLst/>
            <a:rect l="l" t="t" r="r" b="b"/>
            <a:pathLst>
              <a:path w="371900" h="373588">
                <a:moveTo>
                  <a:pt x="297080" y="129105"/>
                </a:moveTo>
                <a:lnTo>
                  <a:pt x="284273" y="219737"/>
                </a:lnTo>
                <a:lnTo>
                  <a:pt x="305496" y="219737"/>
                </a:lnTo>
                <a:lnTo>
                  <a:pt x="333001" y="129105"/>
                </a:lnTo>
                <a:close/>
                <a:moveTo>
                  <a:pt x="228265" y="129105"/>
                </a:moveTo>
                <a:lnTo>
                  <a:pt x="228265" y="219737"/>
                </a:lnTo>
                <a:lnTo>
                  <a:pt x="250807" y="219737"/>
                </a:lnTo>
                <a:lnTo>
                  <a:pt x="263614" y="129105"/>
                </a:lnTo>
                <a:close/>
                <a:moveTo>
                  <a:pt x="157021" y="129105"/>
                </a:moveTo>
                <a:lnTo>
                  <a:pt x="175826" y="219737"/>
                </a:lnTo>
                <a:lnTo>
                  <a:pt x="195129" y="219737"/>
                </a:lnTo>
                <a:lnTo>
                  <a:pt x="195129" y="129105"/>
                </a:lnTo>
                <a:close/>
                <a:moveTo>
                  <a:pt x="93087" y="129105"/>
                </a:moveTo>
                <a:lnTo>
                  <a:pt x="117372" y="219737"/>
                </a:lnTo>
                <a:lnTo>
                  <a:pt x="141984" y="219737"/>
                </a:lnTo>
                <a:lnTo>
                  <a:pt x="123179" y="129105"/>
                </a:lnTo>
                <a:close/>
                <a:moveTo>
                  <a:pt x="58494" y="0"/>
                </a:moveTo>
                <a:lnTo>
                  <a:pt x="84208" y="95969"/>
                </a:lnTo>
                <a:lnTo>
                  <a:pt x="354346" y="95969"/>
                </a:lnTo>
                <a:lnTo>
                  <a:pt x="354346" y="97437"/>
                </a:lnTo>
                <a:cubicBezTo>
                  <a:pt x="356087" y="96136"/>
                  <a:pt x="357928" y="96353"/>
                  <a:pt x="359747" y="96905"/>
                </a:cubicBezTo>
                <a:lnTo>
                  <a:pt x="360371" y="97095"/>
                </a:lnTo>
                <a:cubicBezTo>
                  <a:pt x="368954" y="99700"/>
                  <a:pt x="373801" y="108770"/>
                  <a:pt x="371196" y="117354"/>
                </a:cubicBezTo>
                <a:lnTo>
                  <a:pt x="333339" y="242097"/>
                </a:lnTo>
                <a:cubicBezTo>
                  <a:pt x="331591" y="247858"/>
                  <a:pt x="326929" y="251935"/>
                  <a:pt x="321206" y="252122"/>
                </a:cubicBezTo>
                <a:lnTo>
                  <a:pt x="321206" y="252873"/>
                </a:lnTo>
                <a:lnTo>
                  <a:pt x="313576" y="252873"/>
                </a:lnTo>
                <a:cubicBezTo>
                  <a:pt x="313378" y="253010"/>
                  <a:pt x="313229" y="252967"/>
                  <a:pt x="313080" y="252922"/>
                </a:cubicBezTo>
                <a:lnTo>
                  <a:pt x="312919" y="252873"/>
                </a:lnTo>
                <a:lnTo>
                  <a:pt x="126251" y="252873"/>
                </a:lnTo>
                <a:lnTo>
                  <a:pt x="133971" y="281687"/>
                </a:lnTo>
                <a:lnTo>
                  <a:pt x="321075" y="281687"/>
                </a:lnTo>
                <a:lnTo>
                  <a:pt x="321075" y="314823"/>
                </a:lnTo>
                <a:lnTo>
                  <a:pt x="318480" y="314823"/>
                </a:lnTo>
                <a:cubicBezTo>
                  <a:pt x="329614" y="318311"/>
                  <a:pt x="336414" y="328969"/>
                  <a:pt x="336414" y="341215"/>
                </a:cubicBezTo>
                <a:cubicBezTo>
                  <a:pt x="336414" y="359094"/>
                  <a:pt x="321920" y="373588"/>
                  <a:pt x="304041" y="373588"/>
                </a:cubicBezTo>
                <a:cubicBezTo>
                  <a:pt x="286162" y="373588"/>
                  <a:pt x="271668" y="359094"/>
                  <a:pt x="271668" y="341215"/>
                </a:cubicBezTo>
                <a:cubicBezTo>
                  <a:pt x="271668" y="328969"/>
                  <a:pt x="278468" y="318311"/>
                  <a:pt x="289602" y="314823"/>
                </a:cubicBezTo>
                <a:lnTo>
                  <a:pt x="142850" y="314823"/>
                </a:lnTo>
                <a:lnTo>
                  <a:pt x="143397" y="316865"/>
                </a:lnTo>
                <a:cubicBezTo>
                  <a:pt x="151629" y="321811"/>
                  <a:pt x="156401" y="330956"/>
                  <a:pt x="156401" y="341215"/>
                </a:cubicBezTo>
                <a:cubicBezTo>
                  <a:pt x="156401" y="359094"/>
                  <a:pt x="141907" y="373588"/>
                  <a:pt x="124028" y="373588"/>
                </a:cubicBezTo>
                <a:cubicBezTo>
                  <a:pt x="106149" y="373588"/>
                  <a:pt x="91655" y="359094"/>
                  <a:pt x="91655" y="341215"/>
                </a:cubicBezTo>
                <a:cubicBezTo>
                  <a:pt x="91655" y="329356"/>
                  <a:pt x="98032" y="318986"/>
                  <a:pt x="108649" y="315212"/>
                </a:cubicBezTo>
                <a:lnTo>
                  <a:pt x="33542" y="34909"/>
                </a:lnTo>
                <a:lnTo>
                  <a:pt x="0" y="34909"/>
                </a:lnTo>
                <a:lnTo>
                  <a:pt x="0" y="1773"/>
                </a:lnTo>
                <a:lnTo>
                  <a:pt x="51879" y="17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endParaRPr>
          </a:p>
        </p:txBody>
      </p:sp>
      <p:sp>
        <p:nvSpPr>
          <p:cNvPr id="69" name="Freeform 18">
            <a:extLst>
              <a:ext uri="{FF2B5EF4-FFF2-40B4-BE49-F238E27FC236}">
                <a16:creationId xmlns:a16="http://schemas.microsoft.com/office/drawing/2014/main" id="{2A28788B-FE85-4066-83DF-A6B0E3F51231}"/>
              </a:ext>
            </a:extLst>
          </p:cNvPr>
          <p:cNvSpPr/>
          <p:nvPr/>
        </p:nvSpPr>
        <p:spPr>
          <a:xfrm>
            <a:off x="4729682" y="4243540"/>
            <a:ext cx="427438" cy="344974"/>
          </a:xfrm>
          <a:custGeom>
            <a:avLst/>
            <a:gdLst/>
            <a:ahLst/>
            <a:cxnLst/>
            <a:rect l="l" t="t" r="r" b="b"/>
            <a:pathLst>
              <a:path w="3307788" h="2669631">
                <a:moveTo>
                  <a:pt x="2793832" y="1478391"/>
                </a:moveTo>
                <a:cubicBezTo>
                  <a:pt x="2772990" y="1635402"/>
                  <a:pt x="2717678" y="1784517"/>
                  <a:pt x="2633007" y="1915952"/>
                </a:cubicBezTo>
                <a:cubicBezTo>
                  <a:pt x="2695386" y="1951862"/>
                  <a:pt x="2772768" y="1955673"/>
                  <a:pt x="2841607" y="1924185"/>
                </a:cubicBezTo>
                <a:cubicBezTo>
                  <a:pt x="2943442" y="1877605"/>
                  <a:pt x="2999062" y="1766364"/>
                  <a:pt x="2975226" y="1656948"/>
                </a:cubicBezTo>
                <a:cubicBezTo>
                  <a:pt x="2955176" y="1564911"/>
                  <a:pt x="2883463" y="1495086"/>
                  <a:pt x="2793832" y="1478391"/>
                </a:cubicBezTo>
                <a:close/>
                <a:moveTo>
                  <a:pt x="2807611" y="1247700"/>
                </a:moveTo>
                <a:lnTo>
                  <a:pt x="2807472" y="1256060"/>
                </a:lnTo>
                <a:cubicBezTo>
                  <a:pt x="2994195" y="1281771"/>
                  <a:pt x="3148201" y="1421768"/>
                  <a:pt x="3189276" y="1610317"/>
                </a:cubicBezTo>
                <a:cubicBezTo>
                  <a:pt x="3235041" y="1820393"/>
                  <a:pt x="3128252" y="2033972"/>
                  <a:pt x="2932732" y="2123406"/>
                </a:cubicBezTo>
                <a:cubicBezTo>
                  <a:pt x="2789297" y="2189015"/>
                  <a:pt x="2626543" y="2174805"/>
                  <a:pt x="2499470" y="2094044"/>
                </a:cubicBezTo>
                <a:cubicBezTo>
                  <a:pt x="2427194" y="2172627"/>
                  <a:pt x="2343030" y="2241391"/>
                  <a:pt x="2248861" y="2297980"/>
                </a:cubicBezTo>
                <a:cubicBezTo>
                  <a:pt x="2178351" y="2340352"/>
                  <a:pt x="2104446" y="2374567"/>
                  <a:pt x="2027600" y="2398134"/>
                </a:cubicBezTo>
                <a:lnTo>
                  <a:pt x="3307788" y="2397615"/>
                </a:lnTo>
                <a:cubicBezTo>
                  <a:pt x="3265361" y="2549905"/>
                  <a:pt x="2537441" y="2669620"/>
                  <a:pt x="1653814" y="2669631"/>
                </a:cubicBezTo>
                <a:cubicBezTo>
                  <a:pt x="773102" y="2669642"/>
                  <a:pt x="46417" y="2550707"/>
                  <a:pt x="0" y="2398955"/>
                </a:cubicBezTo>
                <a:lnTo>
                  <a:pt x="1280678" y="2398436"/>
                </a:lnTo>
                <a:cubicBezTo>
                  <a:pt x="1203764" y="2374915"/>
                  <a:pt x="1129786" y="2340732"/>
                  <a:pt x="1059201" y="2298380"/>
                </a:cubicBezTo>
                <a:cubicBezTo>
                  <a:pt x="693039" y="2078675"/>
                  <a:pt x="477900" y="1674935"/>
                  <a:pt x="499745" y="1248476"/>
                </a:cubicBezTo>
                <a:close/>
                <a:moveTo>
                  <a:pt x="1331611" y="201752"/>
                </a:moveTo>
                <a:cubicBezTo>
                  <a:pt x="1206335" y="290902"/>
                  <a:pt x="1124761" y="308382"/>
                  <a:pt x="1132336" y="435988"/>
                </a:cubicBezTo>
                <a:cubicBezTo>
                  <a:pt x="1160888" y="640507"/>
                  <a:pt x="1527973" y="617783"/>
                  <a:pt x="1498839" y="840365"/>
                </a:cubicBezTo>
                <a:cubicBezTo>
                  <a:pt x="1455138" y="960979"/>
                  <a:pt x="1395705" y="987199"/>
                  <a:pt x="1213910" y="1052459"/>
                </a:cubicBezTo>
                <a:cubicBezTo>
                  <a:pt x="1331028" y="972050"/>
                  <a:pt x="1364241" y="921357"/>
                  <a:pt x="1360745" y="809484"/>
                </a:cubicBezTo>
                <a:cubicBezTo>
                  <a:pt x="1360746" y="646916"/>
                  <a:pt x="1111360" y="626523"/>
                  <a:pt x="1020462" y="495421"/>
                </a:cubicBezTo>
                <a:cubicBezTo>
                  <a:pt x="941218" y="374224"/>
                  <a:pt x="1061250" y="280996"/>
                  <a:pt x="1331611" y="201752"/>
                </a:cubicBezTo>
                <a:close/>
                <a:moveTo>
                  <a:pt x="2164365" y="80223"/>
                </a:moveTo>
                <a:cubicBezTo>
                  <a:pt x="2021192" y="182108"/>
                  <a:pt x="1927964" y="202086"/>
                  <a:pt x="1936621" y="347922"/>
                </a:cubicBezTo>
                <a:cubicBezTo>
                  <a:pt x="1969252" y="581657"/>
                  <a:pt x="2388778" y="555687"/>
                  <a:pt x="2355482" y="810066"/>
                </a:cubicBezTo>
                <a:cubicBezTo>
                  <a:pt x="2305538" y="947910"/>
                  <a:pt x="2237615" y="977876"/>
                  <a:pt x="2029849" y="1052459"/>
                </a:cubicBezTo>
                <a:cubicBezTo>
                  <a:pt x="2163698" y="960563"/>
                  <a:pt x="2201656" y="902628"/>
                  <a:pt x="2197660" y="774773"/>
                </a:cubicBezTo>
                <a:cubicBezTo>
                  <a:pt x="2197661" y="588982"/>
                  <a:pt x="1912649" y="565676"/>
                  <a:pt x="1808765" y="415844"/>
                </a:cubicBezTo>
                <a:cubicBezTo>
                  <a:pt x="1718201" y="277334"/>
                  <a:pt x="1855380" y="170787"/>
                  <a:pt x="2164365" y="80223"/>
                </a:cubicBezTo>
                <a:close/>
                <a:moveTo>
                  <a:pt x="1754169" y="0"/>
                </a:moveTo>
                <a:cubicBezTo>
                  <a:pt x="1583512" y="121444"/>
                  <a:pt x="1472387" y="145257"/>
                  <a:pt x="1482706" y="319088"/>
                </a:cubicBezTo>
                <a:cubicBezTo>
                  <a:pt x="1521601" y="597693"/>
                  <a:pt x="2021663" y="566738"/>
                  <a:pt x="1981975" y="869950"/>
                </a:cubicBezTo>
                <a:cubicBezTo>
                  <a:pt x="1922443" y="1034256"/>
                  <a:pt x="1841481" y="1069974"/>
                  <a:pt x="1593831" y="1158875"/>
                </a:cubicBezTo>
                <a:cubicBezTo>
                  <a:pt x="1753374" y="1049338"/>
                  <a:pt x="1798619" y="980281"/>
                  <a:pt x="1793856" y="827882"/>
                </a:cubicBezTo>
                <a:cubicBezTo>
                  <a:pt x="1793857" y="606424"/>
                  <a:pt x="1454132" y="578644"/>
                  <a:pt x="1330306" y="400050"/>
                </a:cubicBezTo>
                <a:cubicBezTo>
                  <a:pt x="1222356" y="234950"/>
                  <a:pt x="1385869" y="107950"/>
                  <a:pt x="175416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70" name="Round Same Side Corner Rectangle 11">
            <a:extLst>
              <a:ext uri="{FF2B5EF4-FFF2-40B4-BE49-F238E27FC236}">
                <a16:creationId xmlns:a16="http://schemas.microsoft.com/office/drawing/2014/main" id="{61486775-2C3A-4831-B97D-413631422112}"/>
              </a:ext>
            </a:extLst>
          </p:cNvPr>
          <p:cNvSpPr>
            <a:spLocks noChangeAspect="1"/>
          </p:cNvSpPr>
          <p:nvPr/>
        </p:nvSpPr>
        <p:spPr>
          <a:xfrm rot="9900000">
            <a:off x="2548779" y="2146398"/>
            <a:ext cx="396000" cy="336326"/>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71" name="TextBox 70">
            <a:extLst>
              <a:ext uri="{FF2B5EF4-FFF2-40B4-BE49-F238E27FC236}">
                <a16:creationId xmlns:a16="http://schemas.microsoft.com/office/drawing/2014/main" id="{948A2979-A456-4286-B8FC-8FF4C0C58EFD}"/>
              </a:ext>
            </a:extLst>
          </p:cNvPr>
          <p:cNvSpPr txBox="1"/>
          <p:nvPr/>
        </p:nvSpPr>
        <p:spPr>
          <a:xfrm>
            <a:off x="2069761" y="470232"/>
            <a:ext cx="6672648" cy="646331"/>
          </a:xfrm>
          <a:prstGeom prst="rect">
            <a:avLst/>
          </a:prstGeom>
          <a:noFill/>
        </p:spPr>
        <p:txBody>
          <a:bodyPr wrap="square" rtlCol="0" anchor="ctr">
            <a:spAutoFit/>
          </a:bodyPr>
          <a:lstStyle/>
          <a:p>
            <a:r>
              <a:rPr lang="en-US" sz="3600" dirty="0" smtClean="0">
                <a:solidFill>
                  <a:srgbClr val="20428F"/>
                </a:solidFill>
              </a:rPr>
              <a:t>Selecting AWS Region</a:t>
            </a:r>
            <a:endParaRPr lang="en-US" sz="3600" dirty="0">
              <a:solidFill>
                <a:srgbClr val="20428F"/>
              </a:solidFill>
            </a:endParaRPr>
          </a:p>
        </p:txBody>
      </p:sp>
      <p:sp>
        <p:nvSpPr>
          <p:cNvPr id="73" name="Freeform: Shape 5">
            <a:extLst>
              <a:ext uri="{FF2B5EF4-FFF2-40B4-BE49-F238E27FC236}">
                <a16:creationId xmlns:a16="http://schemas.microsoft.com/office/drawing/2014/main" id="{6E2E9094-67D8-4A7C-B3AF-095F1FFF635E}"/>
              </a:ext>
            </a:extLst>
          </p:cNvPr>
          <p:cNvSpPr/>
          <p:nvPr/>
        </p:nvSpPr>
        <p:spPr>
          <a:xfrm flipH="1">
            <a:off x="1779215" y="118833"/>
            <a:ext cx="731693" cy="1411387"/>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76" name="Rectangle 75"/>
          <p:cNvSpPr/>
          <p:nvPr/>
        </p:nvSpPr>
        <p:spPr>
          <a:xfrm rot="16200000">
            <a:off x="10295793" y="1621250"/>
            <a:ext cx="3387273" cy="276999"/>
          </a:xfrm>
          <a:prstGeom prst="rect">
            <a:avLst/>
          </a:prstGeom>
        </p:spPr>
        <p:txBody>
          <a:bodyPr wrap="none">
            <a:spAutoFit/>
          </a:bodyPr>
          <a:lstStyle/>
          <a:p>
            <a:pPr algn="r"/>
            <a:r>
              <a:rPr lang="en-US" altLang="ko-KR" sz="1200" dirty="0">
                <a:solidFill>
                  <a:srgbClr val="20428F"/>
                </a:solidFill>
                <a:latin typeface="Calibri" panose="020F0502020204030204" pitchFamily="34" charset="0"/>
                <a:cs typeface="Calibri" panose="020F0502020204030204" pitchFamily="34" charset="0"/>
              </a:rPr>
              <a:t>CO-CREATION | COLLABORATION | COORDINATION</a:t>
            </a:r>
            <a:endParaRPr lang="ko-KR" altLang="en-US" sz="1200" dirty="0">
              <a:solidFill>
                <a:srgbClr val="20428F"/>
              </a:solidFill>
              <a:latin typeface="Calibri" panose="020F0502020204030204" pitchFamily="34" charset="0"/>
              <a:cs typeface="Calibri" panose="020F0502020204030204" pitchFamily="34" charset="0"/>
            </a:endParaRPr>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219860"/>
            <a:ext cx="1777556" cy="1113639"/>
          </a:xfrm>
          <a:prstGeom prst="rect">
            <a:avLst/>
          </a:prstGeom>
        </p:spPr>
      </p:pic>
    </p:spTree>
    <p:extLst>
      <p:ext uri="{BB962C8B-B14F-4D97-AF65-F5344CB8AC3E}">
        <p14:creationId xmlns:p14="http://schemas.microsoft.com/office/powerpoint/2010/main" val="19967991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uf3RxIw0Su6cdE9Ex21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uf3RxIw0Su6cdE9Ex2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uf3RxIw0Su6cdE9Ex2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uf3RxIw0Su6cdE9Ex21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733</TotalTime>
  <Words>1156</Words>
  <Application>Microsoft Office PowerPoint</Application>
  <PresentationFormat>Widescreen</PresentationFormat>
  <Paragraphs>198</Paragraphs>
  <Slides>41</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41</vt:i4>
      </vt:variant>
    </vt:vector>
  </HeadingPairs>
  <TitlesOfParts>
    <vt:vector size="49" baseType="lpstr">
      <vt:lpstr>맑은 고딕</vt:lpstr>
      <vt:lpstr>Amazon Ember</vt:lpstr>
      <vt:lpstr>Arial</vt:lpstr>
      <vt:lpstr>Calibri</vt:lpstr>
      <vt:lpstr>Calibri Light</vt:lpstr>
      <vt:lpstr>inherit</vt:lpstr>
      <vt:lpstr>Wingdings</vt:lpstr>
      <vt:lpstr>Office Theme</vt:lpstr>
      <vt:lpstr>AWS DevOps Profession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haib Rehman</dc:creator>
  <cp:lastModifiedBy>Sohaib Rehman</cp:lastModifiedBy>
  <cp:revision>48</cp:revision>
  <dcterms:created xsi:type="dcterms:W3CDTF">2020-07-12T09:22:40Z</dcterms:created>
  <dcterms:modified xsi:type="dcterms:W3CDTF">2023-02-18T03:48:54Z</dcterms:modified>
</cp:coreProperties>
</file>